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6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23" r:id="rId26"/>
    <p:sldMasterId id="2147483807" r:id="rId27"/>
  </p:sldMasterIdLst>
  <p:notesMasterIdLst>
    <p:notesMasterId r:id="rId43"/>
  </p:notesMasterIdLst>
  <p:handoutMasterIdLst>
    <p:handoutMasterId r:id="rId44"/>
  </p:handoutMasterIdLst>
  <p:sldIdLst>
    <p:sldId id="2142532092" r:id="rId28"/>
    <p:sldId id="2134805041" r:id="rId29"/>
    <p:sldId id="2134805001" r:id="rId30"/>
    <p:sldId id="2147378535" r:id="rId31"/>
    <p:sldId id="2134805017" r:id="rId32"/>
    <p:sldId id="2134805013" r:id="rId33"/>
    <p:sldId id="2134805061" r:id="rId34"/>
    <p:sldId id="2142532104" r:id="rId35"/>
    <p:sldId id="2134805023" r:id="rId36"/>
    <p:sldId id="2142532100" r:id="rId37"/>
    <p:sldId id="2142532101" r:id="rId38"/>
    <p:sldId id="2134805026" r:id="rId39"/>
    <p:sldId id="2142532103" r:id="rId40"/>
    <p:sldId id="2142532096" r:id="rId41"/>
    <p:sldId id="2134805035" r:id="rId42"/>
  </p:sldIdLst>
  <p:sldSz cx="12192000" cy="6858000"/>
  <p:notesSz cx="6858000" cy="9144000"/>
  <p:custDataLst>
    <p:custData r:id="rId15"/>
    <p:tags r:id="rId4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0A4648D-7EAA-8FC8-2845-D4A72932E7C0}" name="Devika Narang (IN)" initials="DN(" userId="S::devika.narang@pwc.com::06e1791b-eda1-4b27-9124-76ce225c981b" providerId="AD"/>
  <p188:author id="{54355695-F603-2223-8354-56AD38E29E9E}" name="RAGHUVAMSI SISTLA (IN)" initials="RS(" userId="S::raghuvamsi.sistla@pwc.com::aed0f805-35f8-4def-a79c-e27cc80693a6" providerId="AD"/>
  <p188:author id="{59A963E9-B123-0781-1E68-558B80A23AE9}" name="Prerna Saini (IN)" initials="PS(" userId="S::prerna.saini@pwc.com::25e6a01a-e7d7-48f5-8a97-1b11db6495a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EDE"/>
    <a:srgbClr val="A82416"/>
    <a:srgbClr val="AA263D"/>
    <a:srgbClr val="F1BAC3"/>
    <a:srgbClr val="A63B02"/>
    <a:srgbClr val="E7594A"/>
    <a:srgbClr val="861D12"/>
    <a:srgbClr val="7D2C01"/>
    <a:srgbClr val="D04A02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7" autoAdjust="0"/>
  </p:normalViewPr>
  <p:slideViewPr>
    <p:cSldViewPr snapToGrid="0">
      <p:cViewPr varScale="1">
        <p:scale>
          <a:sx n="60" d="100"/>
          <a:sy n="60" d="100"/>
        </p:scale>
        <p:origin x="8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2.xml"/><Relationship Id="rId21" Type="http://schemas.openxmlformats.org/officeDocument/2006/relationships/customXml" Target="../customXml/item21.xml"/><Relationship Id="rId34" Type="http://schemas.openxmlformats.org/officeDocument/2006/relationships/slide" Target="slides/slide7.xml"/><Relationship Id="rId42" Type="http://schemas.openxmlformats.org/officeDocument/2006/relationships/slide" Target="slides/slide15.xml"/><Relationship Id="rId47" Type="http://schemas.openxmlformats.org/officeDocument/2006/relationships/viewProps" Target="viewProps.xml"/><Relationship Id="rId50" Type="http://schemas.microsoft.com/office/2018/10/relationships/authors" Target="authors.xml"/><Relationship Id="rId7" Type="http://schemas.openxmlformats.org/officeDocument/2006/relationships/customXml" Target="../customXml/item7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9" Type="http://schemas.openxmlformats.org/officeDocument/2006/relationships/slide" Target="slides/slide2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5.xml"/><Relationship Id="rId37" Type="http://schemas.openxmlformats.org/officeDocument/2006/relationships/slide" Target="slides/slide10.xml"/><Relationship Id="rId40" Type="http://schemas.openxmlformats.org/officeDocument/2006/relationships/slide" Target="slides/slide13.xml"/><Relationship Id="rId45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1.xml"/><Relationship Id="rId36" Type="http://schemas.openxmlformats.org/officeDocument/2006/relationships/slide" Target="slides/slide9.xml"/><Relationship Id="rId49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4.xml"/><Relationship Id="rId44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2.xml"/><Relationship Id="rId30" Type="http://schemas.openxmlformats.org/officeDocument/2006/relationships/slide" Target="slides/slide3.xml"/><Relationship Id="rId35" Type="http://schemas.openxmlformats.org/officeDocument/2006/relationships/slide" Target="slides/slide8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6.xml"/><Relationship Id="rId38" Type="http://schemas.openxmlformats.org/officeDocument/2006/relationships/slide" Target="slides/slide11.xml"/><Relationship Id="rId46" Type="http://schemas.openxmlformats.org/officeDocument/2006/relationships/presProps" Target="presProps.xml"/><Relationship Id="rId20" Type="http://schemas.openxmlformats.org/officeDocument/2006/relationships/customXml" Target="../customXml/item20.xml"/><Relationship Id="rId41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CE-468E-8832-2E5CC786D149}"/>
              </c:ext>
            </c:extLst>
          </c:dPt>
          <c:dPt>
            <c:idx val="1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CE-468E-8832-2E5CC786D149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7CE-468E-8832-2E5CC786D149}"/>
              </c:ext>
            </c:extLst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77CE-468E-8832-2E5CC786D149}"/>
              </c:ext>
            </c:extLst>
          </c:dPt>
          <c:dPt>
            <c:idx val="4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77CE-468E-8832-2E5CC786D149}"/>
              </c:ext>
            </c:extLst>
          </c:dPt>
          <c:dPt>
            <c:idx val="5"/>
            <c:bubble3D val="0"/>
            <c:spPr>
              <a:solidFill>
                <a:schemeClr val="accent5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77CE-468E-8832-2E5CC786D149}"/>
              </c:ext>
            </c:extLst>
          </c:dPt>
          <c:dPt>
            <c:idx val="6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77CE-468E-8832-2E5CC786D149}"/>
              </c:ext>
            </c:extLst>
          </c:dPt>
          <c:dPt>
            <c:idx val="7"/>
            <c:bubble3D val="0"/>
            <c:spPr>
              <a:solidFill>
                <a:schemeClr val="accent3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F-77CE-468E-8832-2E5CC786D149}"/>
              </c:ext>
            </c:extLst>
          </c:dPt>
          <c:dPt>
            <c:idx val="8"/>
            <c:bubble3D val="0"/>
            <c:spPr>
              <a:solidFill>
                <a:schemeClr val="accent5">
                  <a:lumMod val="80000"/>
                  <a:lumOff val="2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1-77CE-468E-8832-2E5CC786D149}"/>
              </c:ext>
            </c:extLst>
          </c:dPt>
          <c:dPt>
            <c:idx val="9"/>
            <c:bubble3D val="0"/>
            <c:spPr>
              <a:solidFill>
                <a:schemeClr val="accent1">
                  <a:lumMod val="8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13-77CE-468E-8832-2E5CC786D149}"/>
              </c:ext>
            </c:extLst>
          </c:dPt>
          <c:cat>
            <c:numRef>
              <c:f>Sheet1!$A$2:$A$1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E4D-49F9-B34B-28D4805966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4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05/0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US" smtClean="0"/>
              <a:t>05/0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094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sz="1200" b="1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89779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13882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0225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8778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95645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73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C0E5A5-BC47-2FAC-B427-D31CF0D435D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75E514-C534-5929-7FED-22051801707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3BD78F-17B4-B969-E211-4B7A787B08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1B3354E5-7D99-4BC1-A7CD-7B13782049A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20FBD5C-C1BB-3477-8C7E-DFE70971D733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5BE260-64ED-1285-183C-72C5F103F29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0277652-3727-B7D8-E4AD-2B2077A77A6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747C2164-48A8-4642-AB98-0E010A11129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1112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79DC3B-F10C-AE99-95D2-9DD5256D320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8D24EB-FFD4-B6B8-AEA9-1D719B97E9E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2F0FA1-62AA-F46F-2797-28C0688BA14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75ABFAE3-8915-41D5-95DD-28D1C24E341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6693529-68FD-BDD6-8F44-E33AEFC56E8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0964D6-0C68-492D-9DFB-E7757F53138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341A25-E194-93A9-4A63-50A1977E48F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4FE4C50-F216-4C3A-9F49-1E5484299F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8560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974E08-F412-BC28-CF3A-6056018850B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F38F20-52DA-BBD6-68A6-6009C4D9BB3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CE01A73-2D47-8980-ED10-581EC2D4BEB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387DFED-DF01-4BB1-9258-B5E74EDF516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35E058-8445-1E1C-B9F9-EAD1ED0C4361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A446F1-70CB-A4FD-AFE8-5CCD241795DE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3DD9876-1FBF-3AFC-3134-F5C711DA945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3891B2F-75B9-4D49-A664-E53BBA871A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4793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5C75DB-806F-8364-01AC-E1D3EFF7DA9E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079BEF-0F91-8661-55A8-D1F5A86D94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31786EF-068D-7D12-0FCE-A4C2169D12B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45CD1030-AE5E-4151-8AC0-11D68E658B7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6F71674-3A03-BE7B-D4B6-BB6F44A68A97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FEFAA0-1C0D-21CD-6F07-27365AD7B3E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05B4AEF-FF9E-A6AD-7441-20CE559D9CA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7F77C0A-12FF-4D31-844E-ACDD18CC9D9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8170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1182B0-81F9-43BE-2867-1640092A4350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5C43AC-1D12-766A-4380-FE32EC8FC1B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E65C2CC-6320-5AF5-D8AD-95E9EF32C45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2DB7885-CDD3-4B25-A28D-E725B7F5DD6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E1B5F0-34CD-A759-B7DD-935BE839A859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CC58F7-FD46-4ACD-3F7A-7573612E7662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4B9977-58C5-F7DF-180F-69C7EA0131CD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68366738-498F-44E2-8696-20E4366510D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7466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1235206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914884D-E573-D0D2-6FE8-2C3961F0EC6F}"/>
              </a:ext>
            </a:extLst>
          </p:cNvPr>
          <p:cNvSpPr>
            <a:spLocks noGrp="1"/>
          </p:cNvSpPr>
          <p:nvPr>
            <p:ph type="dt" sz="half" idx="2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8F66103-0653-2382-FB7A-B1D114AFC46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AFB14F-0EAF-5062-4B0E-A9553B4968E8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9670E0DF-D263-40E9-8F13-F2F02A1BC0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770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4723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D2AD02B-6F19-2F31-89B9-BFDF69900D6D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D132196-1760-7111-1F5A-D977916ED0B4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FB777A2-681C-AA68-705B-B4B8736F4C82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882C4C6-E0D7-4469-9623-C8CD258295B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9704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11DA81-6DD9-5843-A29D-35CAF1C5B32E}"/>
              </a:ext>
            </a:extLst>
          </p:cNvPr>
          <p:cNvSpPr>
            <a:spLocks noGrp="1"/>
          </p:cNvSpPr>
          <p:nvPr>
            <p:ph type="dt" sz="half" idx="26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A127EB7-FC75-EE9D-9756-FFA0A7D2E2D8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E0A963-7BDB-F2B0-5A2B-D7F54D0D3907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F53DC75A-6443-4699-8B0D-C4B77CCDBD7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2008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4723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76363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2B98BE-ADAF-4312-43E0-48E325D79982}"/>
              </a:ext>
            </a:extLst>
          </p:cNvPr>
          <p:cNvSpPr>
            <a:spLocks noGrp="1"/>
          </p:cNvSpPr>
          <p:nvPr>
            <p:ph type="dt" sz="half" idx="2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5C72BE-2475-BB9E-8127-D46476FF2414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FBE7480-C72D-987C-CCE8-7A5497A047C4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8BA419C-5E77-4FA4-BAB1-CD7591B1FB7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21429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F136919-B87B-9110-C422-5B7C8538F72A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4485BF-EA63-0949-D1B7-9E60EEF2BF0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45BAB3-42D1-FEBD-7C67-4E52AB72365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B0EC075-AD40-4256-A1C8-83221D9AB7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81754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CA24CA-3561-36CB-0EC0-CCCEF2898AAE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AA034FD-4028-358D-2E8A-384ACBFD36C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CBC47-5E5E-C2F4-8655-F0BD7E68FC78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FC772E4B-9B30-4F2A-A531-F048E6A47A2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749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17B4FB-14EB-69C6-CCA1-27153CEC81A2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E2EC90-C45F-B1D4-A993-F0D13F2906E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62DFA5-BF5A-561A-68DD-DA377B5F67D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729DBB3D-D52C-4CE9-A013-FE50BCEC0C2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16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3EAC56-D24D-FC2A-8F7C-FE55910A64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0A67021-035D-9EC0-FD3E-B148E9DCCA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D85067-99C4-3F7B-5E1B-014B8FB93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9395A68-DE5E-4ED4-99F6-2BD20E15701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582959-7A68-A062-E235-D9B717FB8A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5D964DD-A0E2-6357-A468-8C496BD5B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16222B3-6709-E09D-3B8F-B81C83C6DD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997027A-F973-4DE3-ADAD-B9A15715AF6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957971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4420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5817208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4E2B285-65EE-FA39-5D5F-69634AF0D0C4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43E9BC7-6601-92F2-180F-C7EF5BC18F6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8CACF-21B1-326B-2DFC-11B711C7139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46997ED-723F-4563-B767-5F61EF0502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3509EE-CDBA-F87C-EFF4-F7E87DCD6E78}"/>
              </a:ext>
            </a:extLst>
          </p:cNvPr>
          <p:cNvSpPr>
            <a:spLocks noGrp="1"/>
          </p:cNvSpPr>
          <p:nvPr>
            <p:ph type="dt" sz="half" idx="21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D76454E-0DE4-18E4-49AF-4FE0B5C6A6C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D48DE37-01B2-259C-6D79-3C896BA4DB09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E07F66AE-A45B-4C5E-95CD-49D4B1E1CD1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7B98EB-615B-62F8-6509-6A8EBE9B672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C14F79E-185A-8317-B896-C6D2FC557BB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A553CE9-C69B-FF7D-04CA-E1240AD4EF0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66FF7F8-7E04-476F-9555-35A10DE11E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23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98670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8390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83344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3394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1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2366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2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1894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3367E90-C179-F1C8-9D99-1056F9FF49B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6E8018-7EC4-6E97-BA4B-F8D2F0556AC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5ECA898-4D3F-4E0C-E257-5F22B2D9D24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3C8EEBF-08A2-4EB1-A9D8-09ADCE4A18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632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3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77498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4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42259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  <a:endParaRPr lang="en-GB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4B2DDDC-F4F8-9ADA-E1E4-0E32395AAD2E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21DBD38-DBA6-24A5-FEC0-2E9D43889A8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8F349E-6325-F173-9754-71856DD533E0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BB87E17-74E7-4A5B-A25C-A838C36EEB3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11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A785F67-A388-F01C-FD2C-3750BCF3D20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EDB429C-975D-B89B-A00F-42AAD47CE3D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3D012A7-C25D-C243-2DA1-1BDC2F3D6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C55BBEC-2789-4B59-A39E-CA4FD0628FF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2451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F9D0737-EF66-4D55-98B0-24AEEE27045F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5822289-94AF-A8DF-9BA1-E4C9AAE8C87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3E7423D-9173-78AB-7A75-584C6922064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C05A2BF2-EA32-4B5A-80CF-4CEC185A929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302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1D3720-8CC9-DC00-EAD5-F37441D7F58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027DF4C-8E10-092F-6111-ADE8C202DD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480D98D-A615-6732-8688-91A330AC8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04BE20ED-201D-4222-BF87-16F8370DD50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63997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088B8B7-697A-8086-B053-716AA13324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5E0516C-203A-1CD1-A42B-759480E888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1CDA47A-579A-1277-C842-4552D2C9E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4E1C6DA-278C-419E-BEE1-9E89327FA4F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0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F913877-F3EE-1E37-9BA5-C44A33C4583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09992C5-B0DF-1B3A-56B9-B6639DF5DE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A769D89-765E-7BD9-3730-E50A7E241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F262521-0894-434B-85DD-03B979658F8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40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66E2DDA-EFA7-B4C4-D96B-0640D1BAE4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4C1BBCD-3226-DA6B-6578-2D343CDFEF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07C275A-3741-BFCF-E0EA-C75986420D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ED1E4AC3-4039-4F5E-A600-476275F9687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FEEAD5-2979-A579-DF08-D114A923524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462BF7B-18AE-A8E6-57F9-218DCAF428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0C2B874-BE9A-2CA6-3CE5-A96795482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EADC0E01-2A82-4FDB-8932-9D3FA7ABA8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614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B6FEA5-4263-FCD4-4A74-A6B8FB6B65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965CD6-690D-F554-D2D4-52459B6577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599FE7-0867-4110-7884-EB6FF47C54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DAA56CDE-DEAD-4004-B5E9-A569195E07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7214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4EA880-DEB5-42CF-A83C-DDAF64EC440B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August 2023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56BEEC-ECC5-40F5-A58C-3465D322F4E9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/>
              <a:t>ICEMA Technology Vision Roadma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881E69-C2BF-4773-AB61-345088D55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A7226BA6-FE4E-425E-830B-66BB4F5412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9960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ull Content - Subtitle">
  <p:cSld name="Title and Full Content - Subtitl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82"/>
          <p:cNvSpPr txBox="1">
            <a:spLocks noGrp="1"/>
          </p:cNvSpPr>
          <p:nvPr>
            <p:ph type="title"/>
          </p:nvPr>
        </p:nvSpPr>
        <p:spPr>
          <a:xfrm>
            <a:off x="442913" y="430514"/>
            <a:ext cx="11306175" cy="5029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82"/>
          <p:cNvSpPr txBox="1">
            <a:spLocks noGrp="1"/>
          </p:cNvSpPr>
          <p:nvPr>
            <p:ph type="subTitle" idx="1"/>
          </p:nvPr>
        </p:nvSpPr>
        <p:spPr>
          <a:xfrm>
            <a:off x="442912" y="933433"/>
            <a:ext cx="11306176" cy="88584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0">
                <a:solidFill>
                  <a:schemeClr val="dk1"/>
                </a:solidFill>
              </a:defRPr>
            </a:lvl1pPr>
            <a:lvl2pPr lvl="1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2pPr>
            <a:lvl3pPr lvl="2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3pPr>
            <a:lvl4pPr lvl="3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4pPr>
            <a:lvl5pPr lvl="4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5pPr>
            <a:lvl6pPr lvl="5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6pPr>
            <a:lvl7pPr lvl="6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7pPr>
            <a:lvl8pPr lvl="7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8pPr>
            <a:lvl9pPr lvl="8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3" name="Google Shape;33;p82"/>
          <p:cNvSpPr txBox="1">
            <a:spLocks noGrp="1"/>
          </p:cNvSpPr>
          <p:nvPr>
            <p:ph type="body" idx="2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marL="914400" lvl="1" indent="-228600" algn="l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2pPr>
            <a:lvl3pPr marL="1371600" lvl="2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6pPr>
            <a:lvl7pPr marL="3200400" lvl="6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–"/>
              <a:defRPr/>
            </a:lvl8pPr>
            <a:lvl9pPr marL="4114800" lvl="8" indent="-3429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E891799-E610-4FFA-AB26-4CEE5A0A7EA3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August 2023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B34620-119D-42C4-92B7-F3581B9E0A5F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/>
              <a:t>ICEMA Technology Vision Roadmap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478972A-88EB-484C-8797-44F99128E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AE9A94FB-4905-4C22-8D46-E2EEF288AAA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46821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26DF51-9359-4B27-9B7B-7F169D87C4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838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26DF51-9359-4B27-9B7B-7F169D87C4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750888"/>
            <a:ext cx="4675186" cy="2678112"/>
          </a:xfrm>
        </p:spPr>
        <p:txBody>
          <a:bodyPr vert="horz"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DB52FE4-D71B-4F65-A825-12DCF41D6A9E}"/>
              </a:ext>
            </a:extLst>
          </p:cNvPr>
          <p:cNvSpPr/>
          <p:nvPr userDrawn="1"/>
        </p:nvSpPr>
        <p:spPr>
          <a:xfrm>
            <a:off x="17499" y="0"/>
            <a:ext cx="12192001" cy="6890726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61238">
                <a:schemeClr val="bg1">
                  <a:alpha val="60000"/>
                </a:schemeClr>
              </a:gs>
              <a:gs pos="45000">
                <a:schemeClr val="bg1"/>
              </a:gs>
              <a:gs pos="83000">
                <a:schemeClr val="bg1">
                  <a:alpha val="20000"/>
                </a:schemeClr>
              </a:gs>
              <a:gs pos="100000">
                <a:schemeClr val="bg1">
                  <a:alpha val="2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332241938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A703781-290B-422C-86F3-37FA5EC77556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August 2023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C14C38D-5FFF-48F6-AE5E-B5D9FFC90C18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/>
              <a:t>ICEMA Technology Vision Roadmap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FD21106-52C6-4F81-AB4C-080DF5C6D1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9BDBC30-F3C0-4864-AD08-A6F6A445269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176148"/>
      </p:ext>
    </p:extLst>
  </p:cSld>
  <p:clrMapOvr>
    <a:masterClrMapping/>
  </p:clrMapOvr>
  <p:hf hdr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hape 31"/>
          <p:cNvSpPr txBox="1">
            <a:spLocks noGrp="1"/>
          </p:cNvSpPr>
          <p:nvPr>
            <p:ph type="title"/>
          </p:nvPr>
        </p:nvSpPr>
        <p:spPr>
          <a:xfrm>
            <a:off x="646546" y="1008530"/>
            <a:ext cx="10898910" cy="8068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Georgia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2" name="Shape 32"/>
          <p:cNvSpPr txBox="1">
            <a:spLocks noGrp="1"/>
          </p:cNvSpPr>
          <p:nvPr>
            <p:ph type="body" idx="1"/>
          </p:nvPr>
        </p:nvSpPr>
        <p:spPr>
          <a:xfrm>
            <a:off x="646545" y="1949825"/>
            <a:ext cx="10898910" cy="38996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14680" lvl="0" indent="-207340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marL="829361" lvl="1" indent="-287973" rtl="0">
              <a:spcBef>
                <a:spcPts val="543"/>
              </a:spcBef>
              <a:spcAft>
                <a:spcPts val="0"/>
              </a:spcAft>
              <a:buSzPts val="1400"/>
              <a:buChar char="•"/>
              <a:defRPr/>
            </a:lvl2pPr>
            <a:lvl3pPr marL="1244041" lvl="2" indent="-287973" rtl="0">
              <a:spcBef>
                <a:spcPts val="543"/>
              </a:spcBef>
              <a:spcAft>
                <a:spcPts val="0"/>
              </a:spcAft>
              <a:buSzPts val="1400"/>
              <a:buChar char="-"/>
              <a:defRPr/>
            </a:lvl3pPr>
            <a:lvl4pPr marL="1658722" lvl="3" indent="-287973" rtl="0">
              <a:spcBef>
                <a:spcPts val="543"/>
              </a:spcBef>
              <a:spcAft>
                <a:spcPts val="0"/>
              </a:spcAft>
              <a:buSzPts val="1400"/>
              <a:buChar char="◦"/>
              <a:defRPr/>
            </a:lvl4pPr>
            <a:lvl5pPr marL="2073402" lvl="4" indent="-287973" rtl="0">
              <a:spcBef>
                <a:spcPts val="543"/>
              </a:spcBef>
              <a:spcAft>
                <a:spcPts val="0"/>
              </a:spcAft>
              <a:buSzPts val="1400"/>
              <a:buChar char="›"/>
              <a:defRPr/>
            </a:lvl5pPr>
            <a:lvl6pPr marL="2488082" lvl="5" indent="-287973" rtl="0">
              <a:spcBef>
                <a:spcPts val="543"/>
              </a:spcBef>
              <a:spcAft>
                <a:spcPts val="0"/>
              </a:spcAft>
              <a:buSzPts val="1400"/>
              <a:buAutoNum type="arabicPeriod"/>
              <a:defRPr/>
            </a:lvl6pPr>
            <a:lvl7pPr marL="2902763" lvl="6" indent="-287973" rtl="0">
              <a:spcBef>
                <a:spcPts val="543"/>
              </a:spcBef>
              <a:spcAft>
                <a:spcPts val="0"/>
              </a:spcAft>
              <a:buSzPts val="1400"/>
              <a:buAutoNum type="alphaLcPeriod"/>
              <a:defRPr/>
            </a:lvl7pPr>
            <a:lvl8pPr marL="3317443" lvl="7" indent="-287973" rtl="0">
              <a:spcBef>
                <a:spcPts val="543"/>
              </a:spcBef>
              <a:spcAft>
                <a:spcPts val="0"/>
              </a:spcAft>
              <a:buSzPts val="1400"/>
              <a:buAutoNum type="romanLcPeriod"/>
              <a:defRPr/>
            </a:lvl8pPr>
            <a:lvl9pPr marL="3732124" lvl="8" indent="-207340" rtl="0">
              <a:spcBef>
                <a:spcPts val="543"/>
              </a:spcBef>
              <a:spcAft>
                <a:spcPts val="543"/>
              </a:spcAft>
              <a:buSzPts val="1400"/>
              <a:buNone/>
              <a:defRPr/>
            </a:lvl9pPr>
          </a:lstStyle>
          <a:p>
            <a:endParaRPr/>
          </a:p>
        </p:txBody>
      </p:sp>
      <p:cxnSp>
        <p:nvCxnSpPr>
          <p:cNvPr id="33" name="Shape 33"/>
          <p:cNvCxnSpPr/>
          <p:nvPr/>
        </p:nvCxnSpPr>
        <p:spPr>
          <a:xfrm rot="10800000" flipH="1">
            <a:off x="461820" y="941396"/>
            <a:ext cx="11083553" cy="153191"/>
          </a:xfrm>
          <a:prstGeom prst="bentConnector3">
            <a:avLst>
              <a:gd name="adj1" fmla="val 0"/>
            </a:avLst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82E0322-F8AB-41FF-996A-C9C6B81D50E3}"/>
              </a:ext>
            </a:extLst>
          </p:cNvPr>
          <p:cNvSpPr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r>
              <a:rPr lang="en-US"/>
              <a:t>August 202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E4DDFD2-D896-4944-9B79-4B7D30477A9E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42912" y="6355080"/>
            <a:ext cx="5473701" cy="137160"/>
          </a:xfr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r>
              <a:rPr lang="en-US"/>
              <a:t>ICEMA Technology Vision Roadma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00E11B3-01E8-4231-A48D-862E5D9E3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213757FA-D8D9-4D67-8CC8-5A51B7F2A5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2449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[Section header title]</a:t>
            </a:r>
            <a:endParaRPr lang="en-GB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7600972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F0E5EC7-8DD2-F326-C6BE-0884D72913FF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441492A-9289-F794-8C42-93831EAAB9A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8B6916-A2D7-85A2-9013-9EC857D6FE7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812DB370-E62A-4428-809C-D5F888EB242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33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B33F903-126E-4613-01EC-0DC070DB3B5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CF6662F-6405-9558-79A7-671CDED57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0B63629-6719-5DB1-00BF-5D8D4D6646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E597F65C-F042-4E3F-A3F9-9384DC82E4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A38E4E9-E2D6-E305-CD91-EA9110357C8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EF2189-86DB-98E3-E2B5-FA7B615306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9618221-7855-7F1F-6039-9EBDF68F0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120800D4-E80D-4960-BDB2-FE76ABE4F66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8D17B7-E8CB-E959-D904-82ACE85113F8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mtClean="0"/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439D0-F1CE-E083-36CC-C0C5EDB5217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/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227EEB-A7B7-3ED0-BD67-9A3564800E3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mtClean="0"/>
            </a:lvl1pPr>
          </a:lstStyle>
          <a:p>
            <a:fld id="{5BAE351D-764C-4C60-A4A8-0769BC53EE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4266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3507985-D9A7-26CD-5E38-64DE970967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1"/>
            </p:custDataLst>
            <p:extLst>
              <p:ext uri="{D42A27DB-BD31-4B8C-83A1-F6EECF244321}">
                <p14:modId xmlns:p14="http://schemas.microsoft.com/office/powerpoint/2010/main" val="2213359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21" imgH="423" progId="TCLayout.ActiveDocument.1">
                  <p:embed/>
                </p:oleObj>
              </mc:Choice>
              <mc:Fallback>
                <p:oleObj name="think-cell Slide" r:id="rId52" imgW="421" imgH="423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507985-D9A7-26CD-5E38-64DE97096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40" r:id="rId2"/>
    <p:sldLayoutId id="2147483742" r:id="rId3"/>
    <p:sldLayoutId id="2147483754" r:id="rId4"/>
    <p:sldLayoutId id="2147483743" r:id="rId5"/>
    <p:sldLayoutId id="2147483755" r:id="rId6"/>
    <p:sldLayoutId id="2147483767" r:id="rId7"/>
    <p:sldLayoutId id="2147483744" r:id="rId8"/>
    <p:sldLayoutId id="2147483756" r:id="rId9"/>
    <p:sldLayoutId id="2147483745" r:id="rId10"/>
    <p:sldLayoutId id="2147483757" r:id="rId11"/>
    <p:sldLayoutId id="2147483746" r:id="rId12"/>
    <p:sldLayoutId id="2147483758" r:id="rId13"/>
    <p:sldLayoutId id="2147483747" r:id="rId14"/>
    <p:sldLayoutId id="2147483759" r:id="rId15"/>
    <p:sldLayoutId id="2147483748" r:id="rId16"/>
    <p:sldLayoutId id="2147483760" r:id="rId17"/>
    <p:sldLayoutId id="2147483749" r:id="rId18"/>
    <p:sldLayoutId id="2147483761" r:id="rId19"/>
    <p:sldLayoutId id="2147483750" r:id="rId20"/>
    <p:sldLayoutId id="2147483762" r:id="rId21"/>
    <p:sldLayoutId id="2147483751" r:id="rId22"/>
    <p:sldLayoutId id="2147483763" r:id="rId23"/>
    <p:sldLayoutId id="2147483752" r:id="rId24"/>
    <p:sldLayoutId id="2147483764" r:id="rId25"/>
    <p:sldLayoutId id="2147483768" r:id="rId26"/>
    <p:sldLayoutId id="2147483786" r:id="rId27"/>
    <p:sldLayoutId id="2147483787" r:id="rId28"/>
    <p:sldLayoutId id="2147483790" r:id="rId29"/>
    <p:sldLayoutId id="2147483765" r:id="rId30"/>
    <p:sldLayoutId id="2147483766" r:id="rId31"/>
    <p:sldLayoutId id="2147483769" r:id="rId32"/>
    <p:sldLayoutId id="2147483789" r:id="rId33"/>
    <p:sldLayoutId id="2147483791" r:id="rId34"/>
    <p:sldLayoutId id="2147483792" r:id="rId35"/>
    <p:sldLayoutId id="2147483793" r:id="rId36"/>
    <p:sldLayoutId id="2147483794" r:id="rId37"/>
    <p:sldLayoutId id="2147483795" r:id="rId38"/>
    <p:sldLayoutId id="2147483796" r:id="rId39"/>
    <p:sldLayoutId id="2147483797" r:id="rId40"/>
    <p:sldLayoutId id="2147483798" r:id="rId41"/>
    <p:sldLayoutId id="2147483799" r:id="rId42"/>
    <p:sldLayoutId id="2147483800" r:id="rId43"/>
    <p:sldLayoutId id="2147483801" r:id="rId44"/>
    <p:sldLayoutId id="2147483802" r:id="rId45"/>
    <p:sldLayoutId id="2147483803" r:id="rId46"/>
    <p:sldLayoutId id="2147483804" r:id="rId47"/>
    <p:sldLayoutId id="2147483805" r:id="rId48"/>
    <p:sldLayoutId id="2147483806" r:id="rId49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3" pos="3953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2726" userDrawn="1">
          <p15:clr>
            <a:srgbClr val="F26B43"/>
          </p15:clr>
        </p15:guide>
        <p15:guide id="7" pos="2502" userDrawn="1">
          <p15:clr>
            <a:srgbClr val="F26B43"/>
          </p15:clr>
        </p15:guide>
        <p15:guide id="8" pos="4952" userDrawn="1">
          <p15:clr>
            <a:srgbClr val="F26B43"/>
          </p15:clr>
        </p15:guide>
        <p15:guide id="9" pos="51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orient="horz" pos="1325" userDrawn="1">
          <p15:clr>
            <a:srgbClr val="F26B43"/>
          </p15:clr>
        </p15:guide>
        <p15:guide id="12" orient="horz" pos="114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lang="en-US" sz="750" smtClean="0"/>
            </a:lvl1pPr>
          </a:lstStyle>
          <a:p>
            <a:fld id="{549576C6-F228-4693-B35E-42FC0755A49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Google Shape;34;p82">
            <a:extLst>
              <a:ext uri="{FF2B5EF4-FFF2-40B4-BE49-F238E27FC236}">
                <a16:creationId xmlns:a16="http://schemas.microsoft.com/office/drawing/2014/main" id="{A16ABB11-5F61-4920-A19D-7333141A9606}"/>
              </a:ext>
            </a:extLst>
          </p:cNvPr>
          <p:cNvSpPr txBox="1">
            <a:spLocks noGrp="1"/>
          </p:cNvSpPr>
          <p:nvPr>
            <p:ph type="ft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lang="en-US" sz="750" smtClean="0"/>
            </a:lvl1pPr>
          </a:lstStyle>
          <a:p>
            <a:r>
              <a:rPr lang="en-US"/>
              <a:t>ICEMA Technology Vision Roadmap</a:t>
            </a:r>
          </a:p>
        </p:txBody>
      </p:sp>
      <p:sp>
        <p:nvSpPr>
          <p:cNvPr id="10" name="Google Shape;13;p76">
            <a:extLst>
              <a:ext uri="{FF2B5EF4-FFF2-40B4-BE49-F238E27FC236}">
                <a16:creationId xmlns:a16="http://schemas.microsoft.com/office/drawing/2014/main" id="{F3DA1101-0B5E-439F-8F2E-923FAA06AE33}"/>
              </a:ext>
            </a:extLst>
          </p:cNvPr>
          <p:cNvSpPr txBox="1">
            <a:spLocks noGrp="1"/>
          </p:cNvSpPr>
          <p:nvPr>
            <p:ph type="dt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750" smtClean="0"/>
            </a:lvl1pPr>
          </a:lstStyle>
          <a:p>
            <a:r>
              <a:rPr lang="en-US"/>
              <a:t>August 2023</a:t>
            </a:r>
          </a:p>
        </p:txBody>
      </p:sp>
    </p:spTree>
    <p:extLst>
      <p:ext uri="{BB962C8B-B14F-4D97-AF65-F5344CB8AC3E}">
        <p14:creationId xmlns:p14="http://schemas.microsoft.com/office/powerpoint/2010/main" val="2729697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</p:sldLayoutIdLst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customXml" Target="../../customXml/item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hyperlink" Target="http://www.bharat-mobility.com/" TargetMode="Externa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1.jpeg"/><Relationship Id="rId2" Type="http://schemas.openxmlformats.org/officeDocument/2006/relationships/tags" Target="../tags/tag14.xml"/><Relationship Id="rId1" Type="http://schemas.openxmlformats.org/officeDocument/2006/relationships/customXml" Target="../../customXml/item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5.png"/><Relationship Id="rId2" Type="http://schemas.openxmlformats.org/officeDocument/2006/relationships/tags" Target="../tags/tag15.xml"/><Relationship Id="rId1" Type="http://schemas.openxmlformats.org/officeDocument/2006/relationships/customXml" Target="../../customXml/item11.x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46.png"/><Relationship Id="rId4" Type="http://schemas.openxmlformats.org/officeDocument/2006/relationships/image" Target="../media/image44.jpeg"/><Relationship Id="rId9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9.png"/><Relationship Id="rId12" Type="http://schemas.openxmlformats.org/officeDocument/2006/relationships/image" Target="../media/image51.jpeg"/><Relationship Id="rId2" Type="http://schemas.openxmlformats.org/officeDocument/2006/relationships/tags" Target="../tags/tag16.xml"/><Relationship Id="rId1" Type="http://schemas.openxmlformats.org/officeDocument/2006/relationships/customXml" Target="../../customXml/item19.xml"/><Relationship Id="rId6" Type="http://schemas.openxmlformats.org/officeDocument/2006/relationships/image" Target="../media/image1.emf"/><Relationship Id="rId11" Type="http://schemas.openxmlformats.org/officeDocument/2006/relationships/image" Target="../media/image50.jpeg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49.jpe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48.jpeg"/><Relationship Id="rId14" Type="http://schemas.openxmlformats.org/officeDocument/2006/relationships/image" Target="../media/image53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1.jpeg"/><Relationship Id="rId18" Type="http://schemas.openxmlformats.org/officeDocument/2006/relationships/image" Target="../media/image66.png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69.jpeg"/><Relationship Id="rId7" Type="http://schemas.openxmlformats.org/officeDocument/2006/relationships/image" Target="../media/image1.emf"/><Relationship Id="rId12" Type="http://schemas.openxmlformats.org/officeDocument/2006/relationships/image" Target="../media/image60.jpeg"/><Relationship Id="rId17" Type="http://schemas.openxmlformats.org/officeDocument/2006/relationships/image" Target="../media/image65.png"/><Relationship Id="rId2" Type="http://schemas.openxmlformats.org/officeDocument/2006/relationships/tags" Target="../tags/tag17.xml"/><Relationship Id="rId16" Type="http://schemas.openxmlformats.org/officeDocument/2006/relationships/image" Target="../media/image64.png"/><Relationship Id="rId20" Type="http://schemas.openxmlformats.org/officeDocument/2006/relationships/image" Target="../media/image68.jpeg"/><Relationship Id="rId1" Type="http://schemas.openxmlformats.org/officeDocument/2006/relationships/customXml" Target="../../customXml/item2.x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59.jpeg"/><Relationship Id="rId24" Type="http://schemas.openxmlformats.org/officeDocument/2006/relationships/image" Target="../media/image72.jpeg"/><Relationship Id="rId5" Type="http://schemas.openxmlformats.org/officeDocument/2006/relationships/image" Target="../media/image55.jpeg"/><Relationship Id="rId15" Type="http://schemas.openxmlformats.org/officeDocument/2006/relationships/image" Target="../media/image63.png"/><Relationship Id="rId23" Type="http://schemas.openxmlformats.org/officeDocument/2006/relationships/image" Target="../media/image71.jpeg"/><Relationship Id="rId10" Type="http://schemas.openxmlformats.org/officeDocument/2006/relationships/image" Target="../media/image58.jpeg"/><Relationship Id="rId19" Type="http://schemas.openxmlformats.org/officeDocument/2006/relationships/image" Target="../media/image67.jpeg"/><Relationship Id="rId4" Type="http://schemas.openxmlformats.org/officeDocument/2006/relationships/image" Target="../media/image54.png"/><Relationship Id="rId9" Type="http://schemas.openxmlformats.org/officeDocument/2006/relationships/image" Target="../media/image57.jpeg"/><Relationship Id="rId14" Type="http://schemas.openxmlformats.org/officeDocument/2006/relationships/image" Target="../media/image62.jpeg"/><Relationship Id="rId22" Type="http://schemas.openxmlformats.org/officeDocument/2006/relationships/image" Target="../media/image7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slideLayout" Target="../slideLayouts/slideLayout28.xml"/><Relationship Id="rId7" Type="http://schemas.microsoft.com/office/2007/relationships/hdphoto" Target="../media/hdphoto2.wdp"/><Relationship Id="rId2" Type="http://schemas.openxmlformats.org/officeDocument/2006/relationships/tags" Target="../tags/tag18.xml"/><Relationship Id="rId1" Type="http://schemas.openxmlformats.org/officeDocument/2006/relationships/customXml" Target="../../customXml/item23.xml"/><Relationship Id="rId6" Type="http://schemas.openxmlformats.org/officeDocument/2006/relationships/image" Target="../media/image73.png"/><Relationship Id="rId11" Type="http://schemas.openxmlformats.org/officeDocument/2006/relationships/image" Target="../media/image77.png"/><Relationship Id="rId5" Type="http://schemas.openxmlformats.org/officeDocument/2006/relationships/image" Target="../media/image1.emf"/><Relationship Id="rId10" Type="http://schemas.openxmlformats.org/officeDocument/2006/relationships/image" Target="../media/image76.jpe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75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://www.bharat-mobility.com/" TargetMode="External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customXml" Target="../../customXml/item3.xml"/><Relationship Id="rId6" Type="http://schemas.openxmlformats.org/officeDocument/2006/relationships/image" Target="../media/image1.emf"/><Relationship Id="rId11" Type="http://schemas.openxmlformats.org/officeDocument/2006/relationships/image" Target="../media/image80.png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79.sv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78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5.xml"/><Relationship Id="rId1" Type="http://schemas.openxmlformats.org/officeDocument/2006/relationships/customXml" Target="../../customXml/item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9.png"/><Relationship Id="rId2" Type="http://schemas.openxmlformats.org/officeDocument/2006/relationships/tags" Target="../tags/tag6.xml"/><Relationship Id="rId1" Type="http://schemas.openxmlformats.org/officeDocument/2006/relationships/customXml" Target="../../customXml/item13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oleObject" Target="../embeddings/oleObject6.bin"/><Relationship Id="rId2" Type="http://schemas.openxmlformats.org/officeDocument/2006/relationships/tags" Target="../tags/tag7.xml"/><Relationship Id="rId1" Type="http://schemas.openxmlformats.org/officeDocument/2006/relationships/customXml" Target="../../customXml/item7.xml"/><Relationship Id="rId6" Type="http://schemas.openxmlformats.org/officeDocument/2006/relationships/image" Target="../media/image10.jpe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9.xml"/><Relationship Id="rId1" Type="http://schemas.openxmlformats.org/officeDocument/2006/relationships/customXml" Target="../../customXml/item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0.xml"/><Relationship Id="rId1" Type="http://schemas.openxmlformats.org/officeDocument/2006/relationships/customXml" Target="../../customXml/item1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26.jpe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tags" Target="../tags/tag11.xml"/><Relationship Id="rId16" Type="http://schemas.openxmlformats.org/officeDocument/2006/relationships/image" Target="../media/image22.png"/><Relationship Id="rId20" Type="http://schemas.openxmlformats.org/officeDocument/2006/relationships/image" Target="../media/image25.png"/><Relationship Id="rId1" Type="http://schemas.openxmlformats.org/officeDocument/2006/relationships/customXml" Target="../../customXml/item8.x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24" Type="http://schemas.openxmlformats.org/officeDocument/2006/relationships/image" Target="../media/image29.pn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1.png"/><Relationship Id="rId23" Type="http://schemas.openxmlformats.org/officeDocument/2006/relationships/image" Target="../media/image28.png"/><Relationship Id="rId10" Type="http://schemas.openxmlformats.org/officeDocument/2006/relationships/image" Target="../media/image16.png"/><Relationship Id="rId19" Type="http://schemas.openxmlformats.org/officeDocument/2006/relationships/image" Target="../media/image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tags" Target="../tags/tag12.xml"/><Relationship Id="rId1" Type="http://schemas.openxmlformats.org/officeDocument/2006/relationships/customXml" Target="../../customXml/item21.xml"/><Relationship Id="rId6" Type="http://schemas.openxmlformats.org/officeDocument/2006/relationships/image" Target="../media/image1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10.bin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slideLayout" Target="../slideLayouts/slideLayout28.xml"/><Relationship Id="rId7" Type="http://schemas.openxmlformats.org/officeDocument/2006/relationships/chart" Target="../charts/chart1.xml"/><Relationship Id="rId2" Type="http://schemas.openxmlformats.org/officeDocument/2006/relationships/tags" Target="../tags/tag13.xml"/><Relationship Id="rId1" Type="http://schemas.openxmlformats.org/officeDocument/2006/relationships/customXml" Target="../../customXml/item1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A678AD5-9FD3-6B0C-5E91-773C6020CB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78AD5-9FD3-6B0C-5E91-773C6020C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erial view of a highway with lights&#10;&#10;Description automatically generated">
            <a:extLst>
              <a:ext uri="{FF2B5EF4-FFF2-40B4-BE49-F238E27FC236}">
                <a16:creationId xmlns:a16="http://schemas.microsoft.com/office/drawing/2014/main" id="{B3365378-4FE0-98AF-BA9F-14752483B0D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C4FA28AC-BCF2-76BD-02F3-CDC37E3484CB}"/>
              </a:ext>
            </a:extLst>
          </p:cNvPr>
          <p:cNvGrpSpPr/>
          <p:nvPr/>
        </p:nvGrpSpPr>
        <p:grpSpPr>
          <a:xfrm>
            <a:off x="591127" y="428625"/>
            <a:ext cx="5873582" cy="4793226"/>
            <a:chOff x="591127" y="428625"/>
            <a:chExt cx="5873582" cy="4793226"/>
          </a:xfrm>
        </p:grpSpPr>
        <p:sp>
          <p:nvSpPr>
            <p:cNvPr id="12" name="Rectangle: Diagonal Corners Rounded 11">
              <a:extLst>
                <a:ext uri="{FF2B5EF4-FFF2-40B4-BE49-F238E27FC236}">
                  <a16:creationId xmlns:a16="http://schemas.microsoft.com/office/drawing/2014/main" id="{B0BD1D41-435C-229E-6ADA-ADE362947C94}"/>
                </a:ext>
              </a:extLst>
            </p:cNvPr>
            <p:cNvSpPr/>
            <p:nvPr/>
          </p:nvSpPr>
          <p:spPr>
            <a:xfrm>
              <a:off x="727585" y="428625"/>
              <a:ext cx="5737124" cy="4793226"/>
            </a:xfrm>
            <a:prstGeom prst="round2DiagRect">
              <a:avLst/>
            </a:prstGeom>
            <a:solidFill>
              <a:schemeClr val="bg1"/>
            </a:solidFill>
            <a:ln w="38100"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b"/>
            <a:lstStyle/>
            <a:p>
              <a:pPr algn="ctr">
                <a:lnSpc>
                  <a:spcPct val="100000"/>
                </a:lnSpc>
              </a:pPr>
              <a:endParaRPr lang="en-US" sz="4000">
                <a:solidFill>
                  <a:schemeClr val="tx1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02CE8E8-D443-378E-71AF-A6EF8FE74A46}"/>
                </a:ext>
              </a:extLst>
            </p:cNvPr>
            <p:cNvSpPr txBox="1"/>
            <p:nvPr/>
          </p:nvSpPr>
          <p:spPr>
            <a:xfrm>
              <a:off x="591127" y="3205730"/>
              <a:ext cx="5873582" cy="830997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2400" b="1">
                  <a:solidFill>
                    <a:schemeClr val="accent5"/>
                  </a:solidFill>
                </a:rPr>
                <a:t>Beyond Boundaries: Co-creating Future Automotive Value Chain</a:t>
              </a:r>
            </a:p>
          </p:txBody>
        </p:sp>
        <p:pic>
          <p:nvPicPr>
            <p:cNvPr id="2" name="Picture 1" descr="A close up of text&#10;&#10;Description automatically generated">
              <a:extLst>
                <a:ext uri="{FF2B5EF4-FFF2-40B4-BE49-F238E27FC236}">
                  <a16:creationId xmlns:a16="http://schemas.microsoft.com/office/drawing/2014/main" id="{C6B358B1-F8B1-5EBF-2B52-C278630A28C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45074" y="528478"/>
              <a:ext cx="4902147" cy="2550886"/>
            </a:xfrm>
            <a:prstGeom prst="rect">
              <a:avLst/>
            </a:prstGeom>
          </p:spPr>
        </p:pic>
      </p:grpSp>
      <p:sp>
        <p:nvSpPr>
          <p:cNvPr id="4" name="Google Shape;749;p79">
            <a:extLst>
              <a:ext uri="{FF2B5EF4-FFF2-40B4-BE49-F238E27FC236}">
                <a16:creationId xmlns:a16="http://schemas.microsoft.com/office/drawing/2014/main" id="{ECD77F2E-ABB4-35EE-E585-154525894406}"/>
              </a:ext>
            </a:extLst>
          </p:cNvPr>
          <p:cNvSpPr/>
          <p:nvPr/>
        </p:nvSpPr>
        <p:spPr>
          <a:xfrm>
            <a:off x="864972" y="4666538"/>
            <a:ext cx="489101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5"/>
                  <a:pt x="25" y="25"/>
                  <a:pt x="25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347" y="169"/>
                </a:moveTo>
                <a:cubicBezTo>
                  <a:pt x="347" y="137"/>
                  <a:pt x="320" y="111"/>
                  <a:pt x="288" y="111"/>
                </a:cubicBezTo>
                <a:cubicBezTo>
                  <a:pt x="256" y="111"/>
                  <a:pt x="229" y="137"/>
                  <a:pt x="229" y="169"/>
                </a:cubicBezTo>
                <a:cubicBezTo>
                  <a:pt x="229" y="202"/>
                  <a:pt x="256" y="228"/>
                  <a:pt x="288" y="228"/>
                </a:cubicBezTo>
                <a:cubicBezTo>
                  <a:pt x="320" y="228"/>
                  <a:pt x="347" y="202"/>
                  <a:pt x="347" y="169"/>
                </a:cubicBezTo>
                <a:close/>
                <a:moveTo>
                  <a:pt x="288" y="204"/>
                </a:moveTo>
                <a:cubicBezTo>
                  <a:pt x="269" y="204"/>
                  <a:pt x="254" y="188"/>
                  <a:pt x="254" y="169"/>
                </a:cubicBezTo>
                <a:cubicBezTo>
                  <a:pt x="254" y="151"/>
                  <a:pt x="269" y="135"/>
                  <a:pt x="288" y="135"/>
                </a:cubicBezTo>
                <a:cubicBezTo>
                  <a:pt x="307" y="135"/>
                  <a:pt x="322" y="151"/>
                  <a:pt x="322" y="169"/>
                </a:cubicBezTo>
                <a:cubicBezTo>
                  <a:pt x="322" y="188"/>
                  <a:pt x="307" y="204"/>
                  <a:pt x="288" y="204"/>
                </a:cubicBezTo>
                <a:close/>
                <a:moveTo>
                  <a:pt x="288" y="475"/>
                </a:moveTo>
                <a:cubicBezTo>
                  <a:pt x="277" y="455"/>
                  <a:pt x="277" y="455"/>
                  <a:pt x="277" y="455"/>
                </a:cubicBezTo>
                <a:cubicBezTo>
                  <a:pt x="273" y="447"/>
                  <a:pt x="171" y="257"/>
                  <a:pt x="171" y="169"/>
                </a:cubicBezTo>
                <a:cubicBezTo>
                  <a:pt x="171" y="105"/>
                  <a:pt x="224" y="53"/>
                  <a:pt x="288" y="53"/>
                </a:cubicBezTo>
                <a:cubicBezTo>
                  <a:pt x="352" y="53"/>
                  <a:pt x="405" y="105"/>
                  <a:pt x="405" y="169"/>
                </a:cubicBezTo>
                <a:cubicBezTo>
                  <a:pt x="405" y="259"/>
                  <a:pt x="303" y="447"/>
                  <a:pt x="299" y="455"/>
                </a:cubicBezTo>
                <a:lnTo>
                  <a:pt x="288" y="475"/>
                </a:lnTo>
                <a:close/>
                <a:moveTo>
                  <a:pt x="288" y="77"/>
                </a:moveTo>
                <a:cubicBezTo>
                  <a:pt x="237" y="77"/>
                  <a:pt x="196" y="119"/>
                  <a:pt x="196" y="169"/>
                </a:cubicBezTo>
                <a:cubicBezTo>
                  <a:pt x="196" y="235"/>
                  <a:pt x="262" y="370"/>
                  <a:pt x="288" y="422"/>
                </a:cubicBezTo>
                <a:cubicBezTo>
                  <a:pt x="314" y="371"/>
                  <a:pt x="380" y="236"/>
                  <a:pt x="380" y="169"/>
                </a:cubicBezTo>
                <a:cubicBezTo>
                  <a:pt x="380" y="119"/>
                  <a:pt x="339" y="77"/>
                  <a:pt x="288" y="77"/>
                </a:cubicBezTo>
                <a:close/>
                <a:moveTo>
                  <a:pt x="445" y="449"/>
                </a:moveTo>
                <a:cubicBezTo>
                  <a:pt x="445" y="482"/>
                  <a:pt x="391" y="515"/>
                  <a:pt x="288" y="515"/>
                </a:cubicBezTo>
                <a:cubicBezTo>
                  <a:pt x="185" y="515"/>
                  <a:pt x="131" y="482"/>
                  <a:pt x="131" y="449"/>
                </a:cubicBezTo>
                <a:cubicBezTo>
                  <a:pt x="131" y="427"/>
                  <a:pt x="156" y="405"/>
                  <a:pt x="204" y="392"/>
                </a:cubicBezTo>
                <a:cubicBezTo>
                  <a:pt x="208" y="401"/>
                  <a:pt x="212" y="408"/>
                  <a:pt x="215" y="416"/>
                </a:cubicBezTo>
                <a:cubicBezTo>
                  <a:pt x="178" y="424"/>
                  <a:pt x="156" y="438"/>
                  <a:pt x="156" y="449"/>
                </a:cubicBezTo>
                <a:cubicBezTo>
                  <a:pt x="156" y="466"/>
                  <a:pt x="207" y="491"/>
                  <a:pt x="288" y="491"/>
                </a:cubicBezTo>
                <a:cubicBezTo>
                  <a:pt x="369" y="491"/>
                  <a:pt x="420" y="466"/>
                  <a:pt x="420" y="449"/>
                </a:cubicBezTo>
                <a:cubicBezTo>
                  <a:pt x="420" y="438"/>
                  <a:pt x="399" y="424"/>
                  <a:pt x="361" y="416"/>
                </a:cubicBezTo>
                <a:cubicBezTo>
                  <a:pt x="365" y="408"/>
                  <a:pt x="368" y="401"/>
                  <a:pt x="372" y="393"/>
                </a:cubicBezTo>
                <a:cubicBezTo>
                  <a:pt x="420" y="405"/>
                  <a:pt x="445" y="427"/>
                  <a:pt x="445" y="449"/>
                </a:cubicBez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" name="Google Shape;1246;p88">
            <a:extLst>
              <a:ext uri="{FF2B5EF4-FFF2-40B4-BE49-F238E27FC236}">
                <a16:creationId xmlns:a16="http://schemas.microsoft.com/office/drawing/2014/main" id="{2525E5F5-7EE9-9CED-B2FC-7057FF25A521}"/>
              </a:ext>
            </a:extLst>
          </p:cNvPr>
          <p:cNvSpPr/>
          <p:nvPr/>
        </p:nvSpPr>
        <p:spPr>
          <a:xfrm>
            <a:off x="3973168" y="4666538"/>
            <a:ext cx="489101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527" y="56"/>
                </a:moveTo>
                <a:cubicBezTo>
                  <a:pt x="524" y="25"/>
                  <a:pt x="497" y="0"/>
                  <a:pt x="464" y="0"/>
                </a:cubicBezTo>
                <a:cubicBezTo>
                  <a:pt x="432" y="0"/>
                  <a:pt x="405" y="25"/>
                  <a:pt x="401" y="56"/>
                </a:cubicBezTo>
                <a:cubicBezTo>
                  <a:pt x="350" y="56"/>
                  <a:pt x="350" y="56"/>
                  <a:pt x="350" y="56"/>
                </a:cubicBezTo>
                <a:cubicBezTo>
                  <a:pt x="347" y="25"/>
                  <a:pt x="320" y="0"/>
                  <a:pt x="287" y="0"/>
                </a:cubicBezTo>
                <a:cubicBezTo>
                  <a:pt x="255" y="0"/>
                  <a:pt x="228" y="25"/>
                  <a:pt x="225" y="56"/>
                </a:cubicBezTo>
                <a:cubicBezTo>
                  <a:pt x="173" y="56"/>
                  <a:pt x="173" y="56"/>
                  <a:pt x="173" y="56"/>
                </a:cubicBezTo>
                <a:cubicBezTo>
                  <a:pt x="170" y="25"/>
                  <a:pt x="143" y="0"/>
                  <a:pt x="111" y="0"/>
                </a:cubicBezTo>
                <a:cubicBezTo>
                  <a:pt x="78" y="0"/>
                  <a:pt x="51" y="25"/>
                  <a:pt x="48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56"/>
                  <a:pt x="576" y="56"/>
                  <a:pt x="576" y="56"/>
                </a:cubicBezTo>
                <a:lnTo>
                  <a:pt x="527" y="56"/>
                </a:lnTo>
                <a:close/>
                <a:moveTo>
                  <a:pt x="464" y="25"/>
                </a:moveTo>
                <a:cubicBezTo>
                  <a:pt x="483" y="25"/>
                  <a:pt x="499" y="38"/>
                  <a:pt x="502" y="56"/>
                </a:cubicBezTo>
                <a:cubicBezTo>
                  <a:pt x="426" y="56"/>
                  <a:pt x="426" y="56"/>
                  <a:pt x="426" y="56"/>
                </a:cubicBezTo>
                <a:cubicBezTo>
                  <a:pt x="429" y="38"/>
                  <a:pt x="445" y="25"/>
                  <a:pt x="464" y="25"/>
                </a:cubicBezTo>
                <a:close/>
                <a:moveTo>
                  <a:pt x="287" y="25"/>
                </a:moveTo>
                <a:cubicBezTo>
                  <a:pt x="306" y="25"/>
                  <a:pt x="322" y="38"/>
                  <a:pt x="326" y="56"/>
                </a:cubicBezTo>
                <a:cubicBezTo>
                  <a:pt x="249" y="56"/>
                  <a:pt x="249" y="56"/>
                  <a:pt x="249" y="56"/>
                </a:cubicBezTo>
                <a:cubicBezTo>
                  <a:pt x="253" y="38"/>
                  <a:pt x="268" y="25"/>
                  <a:pt x="287" y="25"/>
                </a:cubicBezTo>
                <a:close/>
                <a:moveTo>
                  <a:pt x="111" y="25"/>
                </a:moveTo>
                <a:cubicBezTo>
                  <a:pt x="130" y="25"/>
                  <a:pt x="145" y="38"/>
                  <a:pt x="149" y="56"/>
                </a:cubicBezTo>
                <a:cubicBezTo>
                  <a:pt x="72" y="56"/>
                  <a:pt x="72" y="56"/>
                  <a:pt x="72" y="56"/>
                </a:cubicBezTo>
                <a:cubicBezTo>
                  <a:pt x="76" y="38"/>
                  <a:pt x="92" y="25"/>
                  <a:pt x="111" y="25"/>
                </a:cubicBezTo>
                <a:close/>
                <a:moveTo>
                  <a:pt x="551" y="81"/>
                </a:moveTo>
                <a:cubicBezTo>
                  <a:pt x="551" y="155"/>
                  <a:pt x="551" y="155"/>
                  <a:pt x="551" y="155"/>
                </a:cubicBezTo>
                <a:cubicBezTo>
                  <a:pt x="25" y="155"/>
                  <a:pt x="25" y="155"/>
                  <a:pt x="25" y="155"/>
                </a:cubicBezTo>
                <a:cubicBezTo>
                  <a:pt x="25" y="81"/>
                  <a:pt x="25" y="81"/>
                  <a:pt x="25" y="81"/>
                </a:cubicBezTo>
                <a:lnTo>
                  <a:pt x="551" y="81"/>
                </a:lnTo>
                <a:close/>
                <a:moveTo>
                  <a:pt x="300" y="279"/>
                </a:moveTo>
                <a:cubicBezTo>
                  <a:pt x="414" y="279"/>
                  <a:pt x="414" y="279"/>
                  <a:pt x="414" y="279"/>
                </a:cubicBezTo>
                <a:cubicBezTo>
                  <a:pt x="414" y="353"/>
                  <a:pt x="414" y="353"/>
                  <a:pt x="414" y="353"/>
                </a:cubicBezTo>
                <a:cubicBezTo>
                  <a:pt x="300" y="353"/>
                  <a:pt x="300" y="353"/>
                  <a:pt x="300" y="353"/>
                </a:cubicBezTo>
                <a:lnTo>
                  <a:pt x="300" y="279"/>
                </a:lnTo>
                <a:close/>
                <a:moveTo>
                  <a:pt x="276" y="353"/>
                </a:moveTo>
                <a:cubicBezTo>
                  <a:pt x="163" y="353"/>
                  <a:pt x="163" y="353"/>
                  <a:pt x="163" y="353"/>
                </a:cubicBezTo>
                <a:cubicBezTo>
                  <a:pt x="163" y="279"/>
                  <a:pt x="163" y="279"/>
                  <a:pt x="163" y="279"/>
                </a:cubicBezTo>
                <a:cubicBezTo>
                  <a:pt x="276" y="279"/>
                  <a:pt x="276" y="279"/>
                  <a:pt x="276" y="279"/>
                </a:cubicBezTo>
                <a:lnTo>
                  <a:pt x="276" y="353"/>
                </a:lnTo>
                <a:close/>
                <a:moveTo>
                  <a:pt x="300" y="254"/>
                </a:moveTo>
                <a:cubicBezTo>
                  <a:pt x="300" y="180"/>
                  <a:pt x="300" y="180"/>
                  <a:pt x="300" y="180"/>
                </a:cubicBezTo>
                <a:cubicBezTo>
                  <a:pt x="414" y="180"/>
                  <a:pt x="414" y="180"/>
                  <a:pt x="414" y="180"/>
                </a:cubicBezTo>
                <a:cubicBezTo>
                  <a:pt x="414" y="254"/>
                  <a:pt x="414" y="254"/>
                  <a:pt x="414" y="254"/>
                </a:cubicBezTo>
                <a:lnTo>
                  <a:pt x="300" y="254"/>
                </a:lnTo>
                <a:close/>
                <a:moveTo>
                  <a:pt x="276" y="254"/>
                </a:moveTo>
                <a:cubicBezTo>
                  <a:pt x="163" y="254"/>
                  <a:pt x="163" y="254"/>
                  <a:pt x="163" y="254"/>
                </a:cubicBezTo>
                <a:cubicBezTo>
                  <a:pt x="163" y="180"/>
                  <a:pt x="163" y="180"/>
                  <a:pt x="163" y="180"/>
                </a:cubicBezTo>
                <a:cubicBezTo>
                  <a:pt x="276" y="180"/>
                  <a:pt x="276" y="180"/>
                  <a:pt x="276" y="180"/>
                </a:cubicBezTo>
                <a:lnTo>
                  <a:pt x="276" y="254"/>
                </a:lnTo>
                <a:close/>
                <a:moveTo>
                  <a:pt x="138" y="254"/>
                </a:moveTo>
                <a:cubicBezTo>
                  <a:pt x="25" y="254"/>
                  <a:pt x="25" y="254"/>
                  <a:pt x="25" y="254"/>
                </a:cubicBezTo>
                <a:cubicBezTo>
                  <a:pt x="25" y="180"/>
                  <a:pt x="25" y="180"/>
                  <a:pt x="25" y="180"/>
                </a:cubicBezTo>
                <a:cubicBezTo>
                  <a:pt x="138" y="180"/>
                  <a:pt x="138" y="180"/>
                  <a:pt x="138" y="180"/>
                </a:cubicBezTo>
                <a:lnTo>
                  <a:pt x="138" y="254"/>
                </a:lnTo>
                <a:close/>
                <a:moveTo>
                  <a:pt x="138" y="279"/>
                </a:moveTo>
                <a:cubicBezTo>
                  <a:pt x="138" y="353"/>
                  <a:pt x="138" y="353"/>
                  <a:pt x="138" y="353"/>
                </a:cubicBezTo>
                <a:cubicBezTo>
                  <a:pt x="25" y="353"/>
                  <a:pt x="25" y="353"/>
                  <a:pt x="25" y="353"/>
                </a:cubicBezTo>
                <a:cubicBezTo>
                  <a:pt x="25" y="279"/>
                  <a:pt x="25" y="279"/>
                  <a:pt x="25" y="279"/>
                </a:cubicBezTo>
                <a:lnTo>
                  <a:pt x="138" y="279"/>
                </a:lnTo>
                <a:close/>
                <a:moveTo>
                  <a:pt x="138" y="378"/>
                </a:moveTo>
                <a:cubicBezTo>
                  <a:pt x="138" y="452"/>
                  <a:pt x="138" y="452"/>
                  <a:pt x="138" y="452"/>
                </a:cubicBezTo>
                <a:cubicBezTo>
                  <a:pt x="25" y="452"/>
                  <a:pt x="25" y="452"/>
                  <a:pt x="25" y="452"/>
                </a:cubicBezTo>
                <a:cubicBezTo>
                  <a:pt x="25" y="378"/>
                  <a:pt x="25" y="378"/>
                  <a:pt x="25" y="378"/>
                </a:cubicBezTo>
                <a:lnTo>
                  <a:pt x="138" y="378"/>
                </a:lnTo>
                <a:close/>
                <a:moveTo>
                  <a:pt x="163" y="378"/>
                </a:moveTo>
                <a:cubicBezTo>
                  <a:pt x="276" y="378"/>
                  <a:pt x="276" y="378"/>
                  <a:pt x="276" y="378"/>
                </a:cubicBezTo>
                <a:cubicBezTo>
                  <a:pt x="276" y="452"/>
                  <a:pt x="276" y="452"/>
                  <a:pt x="276" y="452"/>
                </a:cubicBezTo>
                <a:cubicBezTo>
                  <a:pt x="163" y="452"/>
                  <a:pt x="163" y="452"/>
                  <a:pt x="163" y="452"/>
                </a:cubicBezTo>
                <a:lnTo>
                  <a:pt x="163" y="378"/>
                </a:lnTo>
                <a:close/>
                <a:moveTo>
                  <a:pt x="276" y="477"/>
                </a:moveTo>
                <a:cubicBezTo>
                  <a:pt x="276" y="551"/>
                  <a:pt x="276" y="551"/>
                  <a:pt x="276" y="551"/>
                </a:cubicBezTo>
                <a:cubicBezTo>
                  <a:pt x="163" y="551"/>
                  <a:pt x="163" y="551"/>
                  <a:pt x="163" y="551"/>
                </a:cubicBezTo>
                <a:cubicBezTo>
                  <a:pt x="163" y="477"/>
                  <a:pt x="163" y="477"/>
                  <a:pt x="163" y="477"/>
                </a:cubicBezTo>
                <a:lnTo>
                  <a:pt x="276" y="477"/>
                </a:lnTo>
                <a:close/>
                <a:moveTo>
                  <a:pt x="300" y="477"/>
                </a:moveTo>
                <a:cubicBezTo>
                  <a:pt x="414" y="477"/>
                  <a:pt x="414" y="477"/>
                  <a:pt x="414" y="477"/>
                </a:cubicBezTo>
                <a:cubicBezTo>
                  <a:pt x="414" y="551"/>
                  <a:pt x="414" y="551"/>
                  <a:pt x="414" y="551"/>
                </a:cubicBezTo>
                <a:cubicBezTo>
                  <a:pt x="300" y="551"/>
                  <a:pt x="300" y="551"/>
                  <a:pt x="300" y="551"/>
                </a:cubicBezTo>
                <a:lnTo>
                  <a:pt x="300" y="477"/>
                </a:lnTo>
                <a:close/>
                <a:moveTo>
                  <a:pt x="300" y="452"/>
                </a:moveTo>
                <a:cubicBezTo>
                  <a:pt x="300" y="378"/>
                  <a:pt x="300" y="378"/>
                  <a:pt x="300" y="378"/>
                </a:cubicBezTo>
                <a:cubicBezTo>
                  <a:pt x="414" y="378"/>
                  <a:pt x="414" y="378"/>
                  <a:pt x="414" y="378"/>
                </a:cubicBezTo>
                <a:cubicBezTo>
                  <a:pt x="414" y="452"/>
                  <a:pt x="414" y="452"/>
                  <a:pt x="414" y="452"/>
                </a:cubicBezTo>
                <a:lnTo>
                  <a:pt x="300" y="452"/>
                </a:lnTo>
                <a:close/>
                <a:moveTo>
                  <a:pt x="438" y="378"/>
                </a:moveTo>
                <a:cubicBezTo>
                  <a:pt x="551" y="378"/>
                  <a:pt x="551" y="378"/>
                  <a:pt x="551" y="378"/>
                </a:cubicBezTo>
                <a:cubicBezTo>
                  <a:pt x="551" y="452"/>
                  <a:pt x="551" y="452"/>
                  <a:pt x="551" y="452"/>
                </a:cubicBezTo>
                <a:cubicBezTo>
                  <a:pt x="438" y="452"/>
                  <a:pt x="438" y="452"/>
                  <a:pt x="438" y="452"/>
                </a:cubicBezTo>
                <a:lnTo>
                  <a:pt x="438" y="378"/>
                </a:lnTo>
                <a:close/>
                <a:moveTo>
                  <a:pt x="438" y="353"/>
                </a:moveTo>
                <a:cubicBezTo>
                  <a:pt x="438" y="279"/>
                  <a:pt x="438" y="279"/>
                  <a:pt x="438" y="279"/>
                </a:cubicBezTo>
                <a:cubicBezTo>
                  <a:pt x="551" y="279"/>
                  <a:pt x="551" y="279"/>
                  <a:pt x="551" y="279"/>
                </a:cubicBezTo>
                <a:cubicBezTo>
                  <a:pt x="551" y="353"/>
                  <a:pt x="551" y="353"/>
                  <a:pt x="551" y="353"/>
                </a:cubicBezTo>
                <a:lnTo>
                  <a:pt x="438" y="353"/>
                </a:lnTo>
                <a:close/>
                <a:moveTo>
                  <a:pt x="438" y="254"/>
                </a:moveTo>
                <a:cubicBezTo>
                  <a:pt x="438" y="180"/>
                  <a:pt x="438" y="180"/>
                  <a:pt x="438" y="180"/>
                </a:cubicBezTo>
                <a:cubicBezTo>
                  <a:pt x="551" y="180"/>
                  <a:pt x="551" y="180"/>
                  <a:pt x="551" y="180"/>
                </a:cubicBezTo>
                <a:cubicBezTo>
                  <a:pt x="551" y="254"/>
                  <a:pt x="551" y="254"/>
                  <a:pt x="551" y="254"/>
                </a:cubicBezTo>
                <a:lnTo>
                  <a:pt x="438" y="254"/>
                </a:lnTo>
                <a:close/>
                <a:moveTo>
                  <a:pt x="25" y="477"/>
                </a:moveTo>
                <a:cubicBezTo>
                  <a:pt x="138" y="477"/>
                  <a:pt x="138" y="477"/>
                  <a:pt x="138" y="477"/>
                </a:cubicBezTo>
                <a:cubicBezTo>
                  <a:pt x="138" y="551"/>
                  <a:pt x="138" y="551"/>
                  <a:pt x="138" y="551"/>
                </a:cubicBezTo>
                <a:cubicBezTo>
                  <a:pt x="25" y="551"/>
                  <a:pt x="25" y="551"/>
                  <a:pt x="25" y="551"/>
                </a:cubicBezTo>
                <a:lnTo>
                  <a:pt x="25" y="477"/>
                </a:lnTo>
                <a:close/>
                <a:moveTo>
                  <a:pt x="438" y="551"/>
                </a:moveTo>
                <a:cubicBezTo>
                  <a:pt x="438" y="477"/>
                  <a:pt x="438" y="477"/>
                  <a:pt x="438" y="477"/>
                </a:cubicBezTo>
                <a:cubicBezTo>
                  <a:pt x="551" y="477"/>
                  <a:pt x="551" y="477"/>
                  <a:pt x="551" y="477"/>
                </a:cubicBezTo>
                <a:cubicBezTo>
                  <a:pt x="551" y="551"/>
                  <a:pt x="551" y="551"/>
                  <a:pt x="551" y="551"/>
                </a:cubicBezTo>
                <a:lnTo>
                  <a:pt x="438" y="551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FF5BF81-2E6D-5DF0-EC85-A4EE0B4E3AE5}"/>
              </a:ext>
            </a:extLst>
          </p:cNvPr>
          <p:cNvSpPr/>
          <p:nvPr/>
        </p:nvSpPr>
        <p:spPr>
          <a:xfrm>
            <a:off x="1306733" y="4572000"/>
            <a:ext cx="2044428" cy="55483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100" b="1">
                <a:solidFill>
                  <a:schemeClr val="tx1"/>
                </a:solidFill>
              </a:rPr>
              <a:t>Bharat Mandapam, Pragati Maidan, New Delhi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1476C6-4A63-7AE1-B8B4-349C09122E21}"/>
              </a:ext>
            </a:extLst>
          </p:cNvPr>
          <p:cNvSpPr/>
          <p:nvPr/>
        </p:nvSpPr>
        <p:spPr>
          <a:xfrm>
            <a:off x="4331633" y="4576624"/>
            <a:ext cx="1621194" cy="554836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100" b="1">
                <a:solidFill>
                  <a:schemeClr val="tx1"/>
                </a:solidFill>
              </a:rPr>
              <a:t>1</a:t>
            </a:r>
            <a:r>
              <a:rPr lang="en-US" sz="1100" b="1" baseline="30000">
                <a:solidFill>
                  <a:schemeClr val="tx1"/>
                </a:solidFill>
              </a:rPr>
              <a:t>st  </a:t>
            </a:r>
            <a:r>
              <a:rPr lang="en-US" sz="1100" b="1">
                <a:solidFill>
                  <a:schemeClr val="tx1"/>
                </a:solidFill>
              </a:rPr>
              <a:t>to 3</a:t>
            </a:r>
            <a:r>
              <a:rPr lang="en-US" sz="1100" b="1" baseline="30000">
                <a:solidFill>
                  <a:schemeClr val="tx1"/>
                </a:solidFill>
              </a:rPr>
              <a:t>rd</a:t>
            </a:r>
            <a:r>
              <a:rPr lang="en-US" sz="1100" b="1">
                <a:solidFill>
                  <a:schemeClr val="tx1"/>
                </a:solidFill>
              </a:rPr>
              <a:t> February 2024 </a:t>
            </a:r>
          </a:p>
        </p:txBody>
      </p:sp>
      <p:sp>
        <p:nvSpPr>
          <p:cNvPr id="9" name="Rectangle: Diagonal Corners Rounded 8">
            <a:extLst>
              <a:ext uri="{FF2B5EF4-FFF2-40B4-BE49-F238E27FC236}">
                <a16:creationId xmlns:a16="http://schemas.microsoft.com/office/drawing/2014/main" id="{316DDE94-BCDB-0437-C8E2-DFCF70564A0D}"/>
              </a:ext>
            </a:extLst>
          </p:cNvPr>
          <p:cNvSpPr/>
          <p:nvPr/>
        </p:nvSpPr>
        <p:spPr>
          <a:xfrm>
            <a:off x="7782855" y="6500633"/>
            <a:ext cx="4434571" cy="357996"/>
          </a:xfrm>
          <a:prstGeom prst="round2Diag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400" b="1">
                <a:solidFill>
                  <a:schemeClr val="accent5"/>
                </a:solidFill>
              </a:rPr>
              <a:t>For more details visit : </a:t>
            </a:r>
            <a:r>
              <a:rPr lang="en-US" sz="1400" b="1">
                <a:solidFill>
                  <a:schemeClr val="accent5"/>
                </a:solidFill>
                <a:hlinkClick r:id="rId9"/>
              </a:rPr>
              <a:t>www.bharat-mobility.com</a:t>
            </a:r>
            <a:endParaRPr lang="en-US" sz="1400" b="1">
              <a:solidFill>
                <a:schemeClr val="accent5"/>
              </a:solidFill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7492203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7555331-02D1-8134-1444-1F51904010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555331-02D1-8134-1444-1F5190401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6F81DC78-2075-7C29-5646-39A04B1913EB}"/>
              </a:ext>
            </a:extLst>
          </p:cNvPr>
          <p:cNvSpPr txBox="1"/>
          <p:nvPr/>
        </p:nvSpPr>
        <p:spPr>
          <a:xfrm>
            <a:off x="370114" y="149251"/>
            <a:ext cx="85676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solidFill>
                  <a:schemeClr val="accent5"/>
                </a:solidFill>
              </a:rPr>
              <a:t>Bharat Mobility Global Expo 2024 – Elements </a:t>
            </a:r>
          </a:p>
        </p:txBody>
      </p:sp>
      <p:pic>
        <p:nvPicPr>
          <p:cNvPr id="18" name="Picture 17" descr="A race track with a red and white curb&#10;&#10;Description automatically generated">
            <a:extLst>
              <a:ext uri="{FF2B5EF4-FFF2-40B4-BE49-F238E27FC236}">
                <a16:creationId xmlns:a16="http://schemas.microsoft.com/office/drawing/2014/main" id="{8B030B8F-BAF9-8D33-B40E-240DC094F756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34237" y="1832155"/>
            <a:ext cx="3529012" cy="4340044"/>
          </a:xfrm>
          <a:prstGeom prst="rect">
            <a:avLst/>
          </a:prstGeom>
        </p:spPr>
      </p:pic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0BA75D24-9E01-7740-7B98-F10AC1B0FFD2}"/>
              </a:ext>
            </a:extLst>
          </p:cNvPr>
          <p:cNvSpPr/>
          <p:nvPr/>
        </p:nvSpPr>
        <p:spPr>
          <a:xfrm>
            <a:off x="442913" y="1317812"/>
            <a:ext cx="3529012" cy="489791"/>
          </a:xfrm>
          <a:prstGeom prst="round2Diag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b="1"/>
              <a:t>01. Exhibition</a:t>
            </a:r>
          </a:p>
        </p:txBody>
      </p:sp>
      <p:sp>
        <p:nvSpPr>
          <p:cNvPr id="21" name="Rectangle: Diagonal Corners Rounded 20">
            <a:extLst>
              <a:ext uri="{FF2B5EF4-FFF2-40B4-BE49-F238E27FC236}">
                <a16:creationId xmlns:a16="http://schemas.microsoft.com/office/drawing/2014/main" id="{6D743194-1CCF-0BF3-77E2-34EB23AA7927}"/>
              </a:ext>
            </a:extLst>
          </p:cNvPr>
          <p:cNvSpPr/>
          <p:nvPr/>
        </p:nvSpPr>
        <p:spPr>
          <a:xfrm>
            <a:off x="4335896" y="1317811"/>
            <a:ext cx="3529012" cy="489791"/>
          </a:xfrm>
          <a:prstGeom prst="round2Diag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b="1"/>
              <a:t>02. Conferences</a:t>
            </a:r>
          </a:p>
        </p:txBody>
      </p:sp>
      <p:sp>
        <p:nvSpPr>
          <p:cNvPr id="23" name="Rectangle: Diagonal Corners Rounded 22">
            <a:extLst>
              <a:ext uri="{FF2B5EF4-FFF2-40B4-BE49-F238E27FC236}">
                <a16:creationId xmlns:a16="http://schemas.microsoft.com/office/drawing/2014/main" id="{F4553D90-58A8-63A0-18B4-273F007C29DC}"/>
              </a:ext>
            </a:extLst>
          </p:cNvPr>
          <p:cNvSpPr/>
          <p:nvPr/>
        </p:nvSpPr>
        <p:spPr>
          <a:xfrm>
            <a:off x="8234237" y="1299881"/>
            <a:ext cx="3529012" cy="489791"/>
          </a:xfrm>
          <a:prstGeom prst="round2Diag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b="1"/>
              <a:t>03. More Attractions</a:t>
            </a:r>
          </a:p>
        </p:txBody>
      </p:sp>
      <p:pic>
        <p:nvPicPr>
          <p:cNvPr id="25" name="Picture 24" descr="A camera on a stage&#10;&#10;Description automatically generated">
            <a:extLst>
              <a:ext uri="{FF2B5EF4-FFF2-40B4-BE49-F238E27FC236}">
                <a16:creationId xmlns:a16="http://schemas.microsoft.com/office/drawing/2014/main" id="{535A4BB4-88A7-A410-D61B-08144AB899A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400"/>
          <a:stretch/>
        </p:blipFill>
        <p:spPr>
          <a:xfrm>
            <a:off x="4348506" y="1832154"/>
            <a:ext cx="3529013" cy="433274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EEE68F7-4C88-5F04-8EDF-0E9AAD2C1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10</a:t>
            </a:fld>
            <a:endParaRPr lang="en-US" sz="100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BABDF80-4DB4-4C19-4FD3-2FCD7F42E7C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2912" y="1839457"/>
            <a:ext cx="3514851" cy="4332744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13102707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logo for a tire manufacturer&#10;&#10;Description automatically generated">
            <a:extLst>
              <a:ext uri="{FF2B5EF4-FFF2-40B4-BE49-F238E27FC236}">
                <a16:creationId xmlns:a16="http://schemas.microsoft.com/office/drawing/2014/main" id="{22902E28-82CA-A462-2593-7D2040C6CEE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855" y="1066957"/>
            <a:ext cx="2225848" cy="1574210"/>
          </a:xfrm>
          <a:prstGeom prst="rect">
            <a:avLst/>
          </a:prstGeom>
        </p:spPr>
      </p:pic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B7C26CE-93E6-7508-D49E-9ED0061C97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7C26CE-93E6-7508-D49E-9ED0061C9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B3E8120-C876-4B16-A788-2E60E897FD25}"/>
              </a:ext>
            </a:extLst>
          </p:cNvPr>
          <p:cNvSpPr txBox="1"/>
          <p:nvPr/>
        </p:nvSpPr>
        <p:spPr>
          <a:xfrm>
            <a:off x="413782" y="121788"/>
            <a:ext cx="836076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3200" b="1" dirty="0">
                <a:solidFill>
                  <a:schemeClr val="accent5"/>
                </a:solidFill>
              </a:rPr>
              <a:t>Exhibition - Participants as on date</a:t>
            </a:r>
            <a:endParaRPr lang="en-US" sz="3200" b="1" dirty="0">
              <a:solidFill>
                <a:schemeClr val="accent5"/>
              </a:solidFill>
            </a:endParaRPr>
          </a:p>
        </p:txBody>
      </p:sp>
      <p:sp>
        <p:nvSpPr>
          <p:cNvPr id="5" name="Arrow: Right 4">
            <a:extLst>
              <a:ext uri="{FF2B5EF4-FFF2-40B4-BE49-F238E27FC236}">
                <a16:creationId xmlns:a16="http://schemas.microsoft.com/office/drawing/2014/main" id="{3F7B3496-CC73-1186-1161-6EA4A1E29BE9}"/>
              </a:ext>
            </a:extLst>
          </p:cNvPr>
          <p:cNvSpPr/>
          <p:nvPr/>
        </p:nvSpPr>
        <p:spPr>
          <a:xfrm>
            <a:off x="1333589" y="1115348"/>
            <a:ext cx="142284" cy="77611"/>
          </a:xfrm>
          <a:prstGeom prst="rightArrow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15" name="Picture 8">
            <a:extLst>
              <a:ext uri="{FF2B5EF4-FFF2-40B4-BE49-F238E27FC236}">
                <a16:creationId xmlns:a16="http://schemas.microsoft.com/office/drawing/2014/main" id="{C2C1F5B4-C727-C560-8B4D-CF01965846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491" y="1668054"/>
            <a:ext cx="1849257" cy="5839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1" descr="D:\F\MK NEW\PSaha\Webinar Concepts\BMT 2024\Logos\india-energy-storage-alliance-iesa-logo-vector.png">
            <a:extLst>
              <a:ext uri="{FF2B5EF4-FFF2-40B4-BE49-F238E27FC236}">
                <a16:creationId xmlns:a16="http://schemas.microsoft.com/office/drawing/2014/main" id="{2CFB9B37-C0F1-66AD-9674-49053B7DAA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89" b="17521"/>
          <a:stretch/>
        </p:blipFill>
        <p:spPr bwMode="auto">
          <a:xfrm>
            <a:off x="6515036" y="1550001"/>
            <a:ext cx="2075640" cy="820082"/>
          </a:xfrm>
          <a:prstGeom prst="rect">
            <a:avLst/>
          </a:prstGeom>
          <a:noFill/>
        </p:spPr>
      </p:pic>
      <p:pic>
        <p:nvPicPr>
          <p:cNvPr id="4" name="Picture 22" descr="D:\F\MK NEW\PSaha\Webinar Concepts\BMT 2024\Logos\download.png">
            <a:extLst>
              <a:ext uri="{FF2B5EF4-FFF2-40B4-BE49-F238E27FC236}">
                <a16:creationId xmlns:a16="http://schemas.microsoft.com/office/drawing/2014/main" id="{7760026C-4D7F-75C2-BDC3-F47FC499AE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56197" y="1636877"/>
            <a:ext cx="2091390" cy="646331"/>
          </a:xfrm>
          <a:prstGeom prst="rect">
            <a:avLst/>
          </a:prstGeom>
          <a:noFill/>
        </p:spPr>
      </p:pic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B7A724-60DD-B143-778A-ECDB13EE8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11</a:t>
            </a:fld>
            <a:endParaRPr lang="en-US" sz="1000"/>
          </a:p>
        </p:txBody>
      </p:sp>
      <p:pic>
        <p:nvPicPr>
          <p:cNvPr id="8" name="Picture 16" descr="D:\F\MK NEW\PSaha\Webinar Concepts\BMT 2024\Logos\6295c49ed80d6.png">
            <a:extLst>
              <a:ext uri="{FF2B5EF4-FFF2-40B4-BE49-F238E27FC236}">
                <a16:creationId xmlns:a16="http://schemas.microsoft.com/office/drawing/2014/main" id="{AD833992-D936-B0D0-3C72-1218A112F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95317" y="4107978"/>
            <a:ext cx="2001366" cy="74105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99881E84-5659-EC4A-8837-4FC81DAC28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51719" y="4324053"/>
            <a:ext cx="1645652" cy="301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A6F345E0-2B3A-BD69-C54F-3906542F8409}"/>
              </a:ext>
            </a:extLst>
          </p:cNvPr>
          <p:cNvSpPr txBox="1"/>
          <p:nvPr/>
        </p:nvSpPr>
        <p:spPr>
          <a:xfrm>
            <a:off x="427257" y="2395495"/>
            <a:ext cx="2673724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27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Leading Vehicl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OEMs (incl. pur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EV player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C65F98A-B318-4D81-7589-62F574EB1E39}"/>
              </a:ext>
            </a:extLst>
          </p:cNvPr>
          <p:cNvSpPr txBox="1"/>
          <p:nvPr/>
        </p:nvSpPr>
        <p:spPr>
          <a:xfrm>
            <a:off x="3265030" y="2395495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400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Component Manufactur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F2BF0AF-32CB-8E75-F8C5-21A89EB36C23}"/>
              </a:ext>
            </a:extLst>
          </p:cNvPr>
          <p:cNvSpPr txBox="1"/>
          <p:nvPr/>
        </p:nvSpPr>
        <p:spPr>
          <a:xfrm>
            <a:off x="6215994" y="2395495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40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Battery and Storage Compani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2ACCFE-6EF9-B812-D026-8A7A755058E1}"/>
              </a:ext>
            </a:extLst>
          </p:cNvPr>
          <p:cNvSpPr txBox="1"/>
          <p:nvPr/>
        </p:nvSpPr>
        <p:spPr>
          <a:xfrm>
            <a:off x="9154917" y="2395495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10+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Leading Tyre Manufacturer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68FEEA4-B92F-72E8-7DD0-BA4E98C09D07}"/>
              </a:ext>
            </a:extLst>
          </p:cNvPr>
          <p:cNvSpPr txBox="1"/>
          <p:nvPr/>
        </p:nvSpPr>
        <p:spPr>
          <a:xfrm>
            <a:off x="1928168" y="4908854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10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Electric </a:t>
            </a:r>
            <a:r>
              <a:rPr lang="en-US" sz="1800" b="1"/>
              <a:t>Mobility Companies </a:t>
            </a:r>
            <a:endParaRPr lang="en-US" sz="18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DE1E1E7-3BC4-4B50-EC8A-45CD57EE2C3D}"/>
              </a:ext>
            </a:extLst>
          </p:cNvPr>
          <p:cNvSpPr txBox="1"/>
          <p:nvPr/>
        </p:nvSpPr>
        <p:spPr>
          <a:xfrm>
            <a:off x="4879132" y="4908854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5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Leading Steel Manufacturer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A20FC75-5617-DCCA-3944-FA7A47A169D5}"/>
              </a:ext>
            </a:extLst>
          </p:cNvPr>
          <p:cNvSpPr txBox="1"/>
          <p:nvPr/>
        </p:nvSpPr>
        <p:spPr>
          <a:xfrm>
            <a:off x="7437683" y="4908854"/>
            <a:ext cx="26737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600" b="1" dirty="0">
                <a:solidFill>
                  <a:srgbClr val="C00000"/>
                </a:solidFill>
              </a:rPr>
              <a:t>8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b="1" dirty="0"/>
              <a:t>Leading Technology and Start-up play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6EFA68A-DEDB-D507-D86F-E6A909E41361}"/>
              </a:ext>
            </a:extLst>
          </p:cNvPr>
          <p:cNvSpPr/>
          <p:nvPr/>
        </p:nvSpPr>
        <p:spPr>
          <a:xfrm>
            <a:off x="1901822" y="4180903"/>
            <a:ext cx="2806810" cy="7013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3200" b="1" dirty="0">
                <a:solidFill>
                  <a:schemeClr val="accent6"/>
                </a:solidFill>
              </a:rPr>
              <a:t>EV Pavilion</a:t>
            </a: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0725119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DE4818-3761-A5D0-DB75-7C8CF129D6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E4818-3761-A5D0-DB75-7C8CF129D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CA9B64A-B420-1C73-B53F-88BD1A713F2A}"/>
              </a:ext>
            </a:extLst>
          </p:cNvPr>
          <p:cNvSpPr/>
          <p:nvPr/>
        </p:nvSpPr>
        <p:spPr>
          <a:xfrm>
            <a:off x="5363387" y="1161151"/>
            <a:ext cx="6463918" cy="955041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chemeClr val="accent5"/>
                </a:solidFill>
              </a:rPr>
              <a:t>Discussions on disruptive, cutting-edge and new age opportunities in the mobility space by national and international experts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A5D099F-8ED1-38D4-18F8-F9FA82799CE7}"/>
              </a:ext>
            </a:extLst>
          </p:cNvPr>
          <p:cNvGrpSpPr/>
          <p:nvPr/>
        </p:nvGrpSpPr>
        <p:grpSpPr>
          <a:xfrm>
            <a:off x="5890461" y="2572362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4B6D710-C93F-29EF-67B2-EF54E6485DA1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FAA5A6E-7850-6590-4B43-FC1B395F8150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Battery Manufacturing &amp; Recycling</a:t>
              </a:r>
            </a:p>
          </p:txBody>
        </p: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9EDED6E-CD68-760D-6F59-1F3DB41E3C55}"/>
              </a:ext>
            </a:extLst>
          </p:cNvPr>
          <p:cNvGrpSpPr/>
          <p:nvPr/>
        </p:nvGrpSpPr>
        <p:grpSpPr>
          <a:xfrm>
            <a:off x="5890461" y="3044983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83753EEC-CA32-A965-820B-73DA98F1556C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1CBD7118-2FFE-CE4F-D8D3-7A73DA5D80DE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Electrification &amp; Battery Safety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B6C0904A-2DD3-D1AD-7D0B-CF295766AF38}"/>
              </a:ext>
            </a:extLst>
          </p:cNvPr>
          <p:cNvGrpSpPr/>
          <p:nvPr/>
        </p:nvGrpSpPr>
        <p:grpSpPr>
          <a:xfrm>
            <a:off x="5890461" y="3517604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86BADF47-6F4D-8050-1057-6D23DF8E380A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61" name="Rectangle: Rounded Corners 60">
              <a:extLst>
                <a:ext uri="{FF2B5EF4-FFF2-40B4-BE49-F238E27FC236}">
                  <a16:creationId xmlns:a16="http://schemas.microsoft.com/office/drawing/2014/main" id="{88FC43CF-0E00-15BA-6722-419D07B2154F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Circular Economies &amp; Sustainability</a:t>
              </a:r>
            </a:p>
          </p:txBody>
        </p: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48DC3DD8-2935-422E-79DB-195A024A4381}"/>
              </a:ext>
            </a:extLst>
          </p:cNvPr>
          <p:cNvGrpSpPr/>
          <p:nvPr/>
        </p:nvGrpSpPr>
        <p:grpSpPr>
          <a:xfrm>
            <a:off x="5890461" y="3990225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843BB4B8-18A0-3D9B-E165-82236449EF9D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64" name="Rectangle: Rounded Corners 63">
              <a:extLst>
                <a:ext uri="{FF2B5EF4-FFF2-40B4-BE49-F238E27FC236}">
                  <a16:creationId xmlns:a16="http://schemas.microsoft.com/office/drawing/2014/main" id="{54460586-081A-0032-2492-28CFEF5D5EA7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AI &amp; Metaverse in Industry 4.0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E833415A-3D4C-0951-FA13-E1B30E9699CD}"/>
              </a:ext>
            </a:extLst>
          </p:cNvPr>
          <p:cNvGrpSpPr/>
          <p:nvPr/>
        </p:nvGrpSpPr>
        <p:grpSpPr>
          <a:xfrm>
            <a:off x="5890461" y="4469919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07C471E4-8378-C78B-D1E2-DBCD49813B05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6FB037F4-3D51-F594-E037-6D2CC3FF980A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ADAS and Security 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AB94137C-9C9C-7C4B-AD60-6AF84155A659}"/>
              </a:ext>
            </a:extLst>
          </p:cNvPr>
          <p:cNvGrpSpPr/>
          <p:nvPr/>
        </p:nvGrpSpPr>
        <p:grpSpPr>
          <a:xfrm>
            <a:off x="5890461" y="4935467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7D7C14F5-C3A1-B4FC-7AF4-FFD3F1E3367F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70" name="Rectangle: Rounded Corners 69">
              <a:extLst>
                <a:ext uri="{FF2B5EF4-FFF2-40B4-BE49-F238E27FC236}">
                  <a16:creationId xmlns:a16="http://schemas.microsoft.com/office/drawing/2014/main" id="{41AB373A-BF29-4EE8-0815-5B5BB1D124F1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Software Defined Vehicles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AA5B3F96-B415-C5C8-68C1-9DEDC6222C7D}"/>
              </a:ext>
            </a:extLst>
          </p:cNvPr>
          <p:cNvGrpSpPr/>
          <p:nvPr/>
        </p:nvGrpSpPr>
        <p:grpSpPr>
          <a:xfrm>
            <a:off x="5890461" y="5408086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40E07753-78EC-66E6-2BF7-39F001D38915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4DDBC324-DA98-24B7-E409-74EC7B524079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Ethanol &amp; Alternate Powertrains</a:t>
              </a:r>
            </a:p>
          </p:txBody>
        </p:sp>
      </p:grp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9C7A5424-4A3F-BFD1-9A40-5BB5C18538FC}"/>
              </a:ext>
            </a:extLst>
          </p:cNvPr>
          <p:cNvCxnSpPr>
            <a:cxnSpLocks/>
          </p:cNvCxnSpPr>
          <p:nvPr/>
        </p:nvCxnSpPr>
        <p:spPr>
          <a:xfrm>
            <a:off x="9445342" y="2776471"/>
            <a:ext cx="0" cy="3318640"/>
          </a:xfrm>
          <a:prstGeom prst="line">
            <a:avLst/>
          </a:prstGeom>
          <a:ln w="12700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77" name="Isosceles Triangle 76">
            <a:extLst>
              <a:ext uri="{FF2B5EF4-FFF2-40B4-BE49-F238E27FC236}">
                <a16:creationId xmlns:a16="http://schemas.microsoft.com/office/drawing/2014/main" id="{CEEDAE59-D5F2-9D88-78E7-DE7D29EF36B5}"/>
              </a:ext>
            </a:extLst>
          </p:cNvPr>
          <p:cNvSpPr/>
          <p:nvPr/>
        </p:nvSpPr>
        <p:spPr>
          <a:xfrm rot="5400000">
            <a:off x="9434651" y="4211736"/>
            <a:ext cx="177800" cy="160840"/>
          </a:xfrm>
          <a:prstGeom prst="triangl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81" name="Freeform 27">
            <a:extLst>
              <a:ext uri="{FF2B5EF4-FFF2-40B4-BE49-F238E27FC236}">
                <a16:creationId xmlns:a16="http://schemas.microsoft.com/office/drawing/2014/main" id="{925D7FDF-6407-774D-760A-89CDB489F914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34168" y="3094578"/>
            <a:ext cx="267817" cy="329623"/>
          </a:xfrm>
          <a:custGeom>
            <a:avLst/>
            <a:gdLst>
              <a:gd name="T0" fmla="*/ 106 w 163"/>
              <a:gd name="T1" fmla="*/ 25 h 200"/>
              <a:gd name="T2" fmla="*/ 56 w 163"/>
              <a:gd name="T3" fmla="*/ 25 h 200"/>
              <a:gd name="T4" fmla="*/ 56 w 163"/>
              <a:gd name="T5" fmla="*/ 13 h 200"/>
              <a:gd name="T6" fmla="*/ 56 w 163"/>
              <a:gd name="T7" fmla="*/ 0 h 200"/>
              <a:gd name="T8" fmla="*/ 106 w 163"/>
              <a:gd name="T9" fmla="*/ 0 h 200"/>
              <a:gd name="T10" fmla="*/ 106 w 163"/>
              <a:gd name="T11" fmla="*/ 13 h 200"/>
              <a:gd name="T12" fmla="*/ 106 w 163"/>
              <a:gd name="T13" fmla="*/ 25 h 200"/>
              <a:gd name="T14" fmla="*/ 163 w 163"/>
              <a:gd name="T15" fmla="*/ 25 h 200"/>
              <a:gd name="T16" fmla="*/ 163 w 163"/>
              <a:gd name="T17" fmla="*/ 188 h 200"/>
              <a:gd name="T18" fmla="*/ 150 w 163"/>
              <a:gd name="T19" fmla="*/ 200 h 200"/>
              <a:gd name="T20" fmla="*/ 13 w 163"/>
              <a:gd name="T21" fmla="*/ 200 h 200"/>
              <a:gd name="T22" fmla="*/ 0 w 163"/>
              <a:gd name="T23" fmla="*/ 188 h 200"/>
              <a:gd name="T24" fmla="*/ 0 w 163"/>
              <a:gd name="T25" fmla="*/ 25 h 200"/>
              <a:gd name="T26" fmla="*/ 13 w 163"/>
              <a:gd name="T27" fmla="*/ 13 h 200"/>
              <a:gd name="T28" fmla="*/ 31 w 163"/>
              <a:gd name="T29" fmla="*/ 13 h 200"/>
              <a:gd name="T30" fmla="*/ 31 w 163"/>
              <a:gd name="T31" fmla="*/ 25 h 200"/>
              <a:gd name="T32" fmla="*/ 31 w 163"/>
              <a:gd name="T33" fmla="*/ 50 h 200"/>
              <a:gd name="T34" fmla="*/ 44 w 163"/>
              <a:gd name="T35" fmla="*/ 50 h 200"/>
              <a:gd name="T36" fmla="*/ 119 w 163"/>
              <a:gd name="T37" fmla="*/ 50 h 200"/>
              <a:gd name="T38" fmla="*/ 131 w 163"/>
              <a:gd name="T39" fmla="*/ 50 h 200"/>
              <a:gd name="T40" fmla="*/ 131 w 163"/>
              <a:gd name="T41" fmla="*/ 25 h 200"/>
              <a:gd name="T42" fmla="*/ 131 w 163"/>
              <a:gd name="T43" fmla="*/ 13 h 200"/>
              <a:gd name="T44" fmla="*/ 150 w 163"/>
              <a:gd name="T45" fmla="*/ 13 h 200"/>
              <a:gd name="T46" fmla="*/ 163 w 163"/>
              <a:gd name="T47" fmla="*/ 25 h 200"/>
              <a:gd name="T48" fmla="*/ 138 w 163"/>
              <a:gd name="T49" fmla="*/ 125 h 200"/>
              <a:gd name="T50" fmla="*/ 25 w 163"/>
              <a:gd name="T51" fmla="*/ 125 h 200"/>
              <a:gd name="T52" fmla="*/ 25 w 163"/>
              <a:gd name="T53" fmla="*/ 150 h 200"/>
              <a:gd name="T54" fmla="*/ 138 w 163"/>
              <a:gd name="T55" fmla="*/ 150 h 200"/>
              <a:gd name="T56" fmla="*/ 138 w 163"/>
              <a:gd name="T57" fmla="*/ 125 h 200"/>
              <a:gd name="T58" fmla="*/ 138 w 163"/>
              <a:gd name="T59" fmla="*/ 75 h 200"/>
              <a:gd name="T60" fmla="*/ 25 w 163"/>
              <a:gd name="T61" fmla="*/ 75 h 200"/>
              <a:gd name="T62" fmla="*/ 25 w 163"/>
              <a:gd name="T63" fmla="*/ 100 h 200"/>
              <a:gd name="T64" fmla="*/ 138 w 163"/>
              <a:gd name="T65" fmla="*/ 100 h 200"/>
              <a:gd name="T66" fmla="*/ 138 w 163"/>
              <a:gd name="T67" fmla="*/ 7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63" h="200">
                <a:moveTo>
                  <a:pt x="106" y="25"/>
                </a:moveTo>
                <a:cubicBezTo>
                  <a:pt x="56" y="25"/>
                  <a:pt x="56" y="25"/>
                  <a:pt x="56" y="25"/>
                </a:cubicBezTo>
                <a:cubicBezTo>
                  <a:pt x="56" y="13"/>
                  <a:pt x="56" y="13"/>
                  <a:pt x="56" y="13"/>
                </a:cubicBezTo>
                <a:cubicBezTo>
                  <a:pt x="56" y="0"/>
                  <a:pt x="56" y="0"/>
                  <a:pt x="56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13"/>
                  <a:pt x="106" y="13"/>
                  <a:pt x="106" y="13"/>
                </a:cubicBezTo>
                <a:lnTo>
                  <a:pt x="106" y="25"/>
                </a:lnTo>
                <a:close/>
                <a:moveTo>
                  <a:pt x="163" y="25"/>
                </a:moveTo>
                <a:cubicBezTo>
                  <a:pt x="163" y="188"/>
                  <a:pt x="163" y="188"/>
                  <a:pt x="163" y="188"/>
                </a:cubicBezTo>
                <a:cubicBezTo>
                  <a:pt x="163" y="194"/>
                  <a:pt x="157" y="200"/>
                  <a:pt x="150" y="200"/>
                </a:cubicBezTo>
                <a:cubicBezTo>
                  <a:pt x="13" y="200"/>
                  <a:pt x="13" y="200"/>
                  <a:pt x="13" y="200"/>
                </a:cubicBezTo>
                <a:cubicBezTo>
                  <a:pt x="6" y="200"/>
                  <a:pt x="0" y="194"/>
                  <a:pt x="0" y="188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18"/>
                  <a:pt x="6" y="13"/>
                  <a:pt x="13" y="13"/>
                </a:cubicBezTo>
                <a:cubicBezTo>
                  <a:pt x="31" y="13"/>
                  <a:pt x="31" y="13"/>
                  <a:pt x="31" y="13"/>
                </a:cubicBezTo>
                <a:cubicBezTo>
                  <a:pt x="31" y="25"/>
                  <a:pt x="31" y="25"/>
                  <a:pt x="31" y="25"/>
                </a:cubicBezTo>
                <a:cubicBezTo>
                  <a:pt x="31" y="50"/>
                  <a:pt x="31" y="50"/>
                  <a:pt x="31" y="50"/>
                </a:cubicBezTo>
                <a:cubicBezTo>
                  <a:pt x="44" y="50"/>
                  <a:pt x="44" y="50"/>
                  <a:pt x="44" y="50"/>
                </a:cubicBezTo>
                <a:cubicBezTo>
                  <a:pt x="119" y="50"/>
                  <a:pt x="119" y="50"/>
                  <a:pt x="119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25"/>
                  <a:pt x="131" y="25"/>
                  <a:pt x="131" y="25"/>
                </a:cubicBezTo>
                <a:cubicBezTo>
                  <a:pt x="131" y="13"/>
                  <a:pt x="131" y="13"/>
                  <a:pt x="131" y="13"/>
                </a:cubicBezTo>
                <a:cubicBezTo>
                  <a:pt x="150" y="13"/>
                  <a:pt x="150" y="13"/>
                  <a:pt x="150" y="13"/>
                </a:cubicBezTo>
                <a:cubicBezTo>
                  <a:pt x="157" y="13"/>
                  <a:pt x="163" y="18"/>
                  <a:pt x="163" y="25"/>
                </a:cubicBezTo>
                <a:close/>
                <a:moveTo>
                  <a:pt x="138" y="125"/>
                </a:moveTo>
                <a:cubicBezTo>
                  <a:pt x="25" y="125"/>
                  <a:pt x="25" y="125"/>
                  <a:pt x="25" y="125"/>
                </a:cubicBezTo>
                <a:cubicBezTo>
                  <a:pt x="25" y="150"/>
                  <a:pt x="25" y="150"/>
                  <a:pt x="25" y="150"/>
                </a:cubicBezTo>
                <a:cubicBezTo>
                  <a:pt x="138" y="150"/>
                  <a:pt x="138" y="150"/>
                  <a:pt x="138" y="150"/>
                </a:cubicBezTo>
                <a:lnTo>
                  <a:pt x="138" y="125"/>
                </a:lnTo>
                <a:close/>
                <a:moveTo>
                  <a:pt x="138" y="75"/>
                </a:moveTo>
                <a:cubicBezTo>
                  <a:pt x="25" y="75"/>
                  <a:pt x="25" y="75"/>
                  <a:pt x="25" y="75"/>
                </a:cubicBezTo>
                <a:cubicBezTo>
                  <a:pt x="25" y="100"/>
                  <a:pt x="25" y="100"/>
                  <a:pt x="25" y="100"/>
                </a:cubicBezTo>
                <a:cubicBezTo>
                  <a:pt x="138" y="100"/>
                  <a:pt x="138" y="100"/>
                  <a:pt x="138" y="100"/>
                </a:cubicBezTo>
                <a:lnTo>
                  <a:pt x="138" y="75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2" name="Freeform 17">
            <a:extLst>
              <a:ext uri="{FF2B5EF4-FFF2-40B4-BE49-F238E27FC236}">
                <a16:creationId xmlns:a16="http://schemas.microsoft.com/office/drawing/2014/main" id="{A240E604-5A06-604F-5F4F-53D36C9DED0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03807" y="5462560"/>
            <a:ext cx="328539" cy="319864"/>
          </a:xfrm>
          <a:custGeom>
            <a:avLst/>
            <a:gdLst>
              <a:gd name="T0" fmla="*/ 6 w 200"/>
              <a:gd name="T1" fmla="*/ 124 h 195"/>
              <a:gd name="T2" fmla="*/ 14 w 200"/>
              <a:gd name="T3" fmla="*/ 126 h 195"/>
              <a:gd name="T4" fmla="*/ 29 w 200"/>
              <a:gd name="T5" fmla="*/ 138 h 195"/>
              <a:gd name="T6" fmla="*/ 29 w 200"/>
              <a:gd name="T7" fmla="*/ 139 h 195"/>
              <a:gd name="T8" fmla="*/ 32 w 200"/>
              <a:gd name="T9" fmla="*/ 158 h 195"/>
              <a:gd name="T10" fmla="*/ 30 w 200"/>
              <a:gd name="T11" fmla="*/ 165 h 195"/>
              <a:gd name="T12" fmla="*/ 34 w 200"/>
              <a:gd name="T13" fmla="*/ 175 h 195"/>
              <a:gd name="T14" fmla="*/ 66 w 200"/>
              <a:gd name="T15" fmla="*/ 193 h 195"/>
              <a:gd name="T16" fmla="*/ 76 w 200"/>
              <a:gd name="T17" fmla="*/ 192 h 195"/>
              <a:gd name="T18" fmla="*/ 82 w 200"/>
              <a:gd name="T19" fmla="*/ 186 h 195"/>
              <a:gd name="T20" fmla="*/ 99 w 200"/>
              <a:gd name="T21" fmla="*/ 178 h 195"/>
              <a:gd name="T22" fmla="*/ 100 w 200"/>
              <a:gd name="T23" fmla="*/ 178 h 195"/>
              <a:gd name="T24" fmla="*/ 117 w 200"/>
              <a:gd name="T25" fmla="*/ 186 h 195"/>
              <a:gd name="T26" fmla="*/ 123 w 200"/>
              <a:gd name="T27" fmla="*/ 192 h 195"/>
              <a:gd name="T28" fmla="*/ 134 w 200"/>
              <a:gd name="T29" fmla="*/ 193 h 195"/>
              <a:gd name="T30" fmla="*/ 166 w 200"/>
              <a:gd name="T31" fmla="*/ 175 h 195"/>
              <a:gd name="T32" fmla="*/ 169 w 200"/>
              <a:gd name="T33" fmla="*/ 165 h 195"/>
              <a:gd name="T34" fmla="*/ 167 w 200"/>
              <a:gd name="T35" fmla="*/ 158 h 195"/>
              <a:gd name="T36" fmla="*/ 170 w 200"/>
              <a:gd name="T37" fmla="*/ 139 h 195"/>
              <a:gd name="T38" fmla="*/ 170 w 200"/>
              <a:gd name="T39" fmla="*/ 138 h 195"/>
              <a:gd name="T40" fmla="*/ 185 w 200"/>
              <a:gd name="T41" fmla="*/ 126 h 195"/>
              <a:gd name="T42" fmla="*/ 193 w 200"/>
              <a:gd name="T43" fmla="*/ 124 h 195"/>
              <a:gd name="T44" fmla="*/ 200 w 200"/>
              <a:gd name="T45" fmla="*/ 116 h 195"/>
              <a:gd name="T46" fmla="*/ 200 w 200"/>
              <a:gd name="T47" fmla="*/ 79 h 195"/>
              <a:gd name="T48" fmla="*/ 193 w 200"/>
              <a:gd name="T49" fmla="*/ 71 h 195"/>
              <a:gd name="T50" fmla="*/ 185 w 200"/>
              <a:gd name="T51" fmla="*/ 69 h 195"/>
              <a:gd name="T52" fmla="*/ 170 w 200"/>
              <a:gd name="T53" fmla="*/ 58 h 195"/>
              <a:gd name="T54" fmla="*/ 170 w 200"/>
              <a:gd name="T55" fmla="*/ 57 h 195"/>
              <a:gd name="T56" fmla="*/ 167 w 200"/>
              <a:gd name="T57" fmla="*/ 38 h 195"/>
              <a:gd name="T58" fmla="*/ 169 w 200"/>
              <a:gd name="T59" fmla="*/ 30 h 195"/>
              <a:gd name="T60" fmla="*/ 166 w 200"/>
              <a:gd name="T61" fmla="*/ 20 h 195"/>
              <a:gd name="T62" fmla="*/ 134 w 200"/>
              <a:gd name="T63" fmla="*/ 2 h 195"/>
              <a:gd name="T64" fmla="*/ 123 w 200"/>
              <a:gd name="T65" fmla="*/ 3 h 195"/>
              <a:gd name="T66" fmla="*/ 117 w 200"/>
              <a:gd name="T67" fmla="*/ 9 h 195"/>
              <a:gd name="T68" fmla="*/ 100 w 200"/>
              <a:gd name="T69" fmla="*/ 17 h 195"/>
              <a:gd name="T70" fmla="*/ 99 w 200"/>
              <a:gd name="T71" fmla="*/ 17 h 195"/>
              <a:gd name="T72" fmla="*/ 82 w 200"/>
              <a:gd name="T73" fmla="*/ 9 h 195"/>
              <a:gd name="T74" fmla="*/ 76 w 200"/>
              <a:gd name="T75" fmla="*/ 3 h 195"/>
              <a:gd name="T76" fmla="*/ 66 w 200"/>
              <a:gd name="T77" fmla="*/ 2 h 195"/>
              <a:gd name="T78" fmla="*/ 34 w 200"/>
              <a:gd name="T79" fmla="*/ 20 h 195"/>
              <a:gd name="T80" fmla="*/ 30 w 200"/>
              <a:gd name="T81" fmla="*/ 30 h 195"/>
              <a:gd name="T82" fmla="*/ 32 w 200"/>
              <a:gd name="T83" fmla="*/ 38 h 195"/>
              <a:gd name="T84" fmla="*/ 29 w 200"/>
              <a:gd name="T85" fmla="*/ 57 h 195"/>
              <a:gd name="T86" fmla="*/ 29 w 200"/>
              <a:gd name="T87" fmla="*/ 58 h 195"/>
              <a:gd name="T88" fmla="*/ 14 w 200"/>
              <a:gd name="T89" fmla="*/ 69 h 195"/>
              <a:gd name="T90" fmla="*/ 6 w 200"/>
              <a:gd name="T91" fmla="*/ 71 h 195"/>
              <a:gd name="T92" fmla="*/ 0 w 200"/>
              <a:gd name="T93" fmla="*/ 79 h 195"/>
              <a:gd name="T94" fmla="*/ 0 w 200"/>
              <a:gd name="T95" fmla="*/ 116 h 195"/>
              <a:gd name="T96" fmla="*/ 6 w 200"/>
              <a:gd name="T97" fmla="*/ 124 h 195"/>
              <a:gd name="T98" fmla="*/ 100 w 200"/>
              <a:gd name="T99" fmla="*/ 73 h 195"/>
              <a:gd name="T100" fmla="*/ 125 w 200"/>
              <a:gd name="T101" fmla="*/ 98 h 195"/>
              <a:gd name="T102" fmla="*/ 100 w 200"/>
              <a:gd name="T103" fmla="*/ 123 h 195"/>
              <a:gd name="T104" fmla="*/ 75 w 200"/>
              <a:gd name="T105" fmla="*/ 98 h 195"/>
              <a:gd name="T106" fmla="*/ 100 w 200"/>
              <a:gd name="T107" fmla="*/ 73 h 1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0" h="195">
                <a:moveTo>
                  <a:pt x="6" y="124"/>
                </a:moveTo>
                <a:cubicBezTo>
                  <a:pt x="14" y="126"/>
                  <a:pt x="14" y="126"/>
                  <a:pt x="14" y="126"/>
                </a:cubicBezTo>
                <a:cubicBezTo>
                  <a:pt x="20" y="128"/>
                  <a:pt x="26" y="132"/>
                  <a:pt x="29" y="138"/>
                </a:cubicBezTo>
                <a:cubicBezTo>
                  <a:pt x="29" y="138"/>
                  <a:pt x="29" y="138"/>
                  <a:pt x="29" y="139"/>
                </a:cubicBezTo>
                <a:cubicBezTo>
                  <a:pt x="33" y="144"/>
                  <a:pt x="34" y="151"/>
                  <a:pt x="32" y="158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29" y="169"/>
                  <a:pt x="30" y="173"/>
                  <a:pt x="34" y="175"/>
                </a:cubicBezTo>
                <a:cubicBezTo>
                  <a:pt x="66" y="193"/>
                  <a:pt x="66" y="193"/>
                  <a:pt x="66" y="193"/>
                </a:cubicBezTo>
                <a:cubicBezTo>
                  <a:pt x="69" y="195"/>
                  <a:pt x="73" y="195"/>
                  <a:pt x="76" y="192"/>
                </a:cubicBezTo>
                <a:cubicBezTo>
                  <a:pt x="82" y="186"/>
                  <a:pt x="82" y="186"/>
                  <a:pt x="82" y="186"/>
                </a:cubicBezTo>
                <a:cubicBezTo>
                  <a:pt x="86" y="181"/>
                  <a:pt x="93" y="178"/>
                  <a:pt x="99" y="178"/>
                </a:cubicBezTo>
                <a:cubicBezTo>
                  <a:pt x="100" y="178"/>
                  <a:pt x="100" y="178"/>
                  <a:pt x="100" y="178"/>
                </a:cubicBezTo>
                <a:cubicBezTo>
                  <a:pt x="106" y="178"/>
                  <a:pt x="113" y="181"/>
                  <a:pt x="117" y="186"/>
                </a:cubicBezTo>
                <a:cubicBezTo>
                  <a:pt x="123" y="192"/>
                  <a:pt x="123" y="192"/>
                  <a:pt x="123" y="192"/>
                </a:cubicBezTo>
                <a:cubicBezTo>
                  <a:pt x="126" y="195"/>
                  <a:pt x="130" y="195"/>
                  <a:pt x="134" y="193"/>
                </a:cubicBezTo>
                <a:cubicBezTo>
                  <a:pt x="166" y="175"/>
                  <a:pt x="166" y="175"/>
                  <a:pt x="166" y="175"/>
                </a:cubicBezTo>
                <a:cubicBezTo>
                  <a:pt x="169" y="173"/>
                  <a:pt x="170" y="169"/>
                  <a:pt x="169" y="165"/>
                </a:cubicBezTo>
                <a:cubicBezTo>
                  <a:pt x="167" y="158"/>
                  <a:pt x="167" y="158"/>
                  <a:pt x="167" y="158"/>
                </a:cubicBezTo>
                <a:cubicBezTo>
                  <a:pt x="165" y="151"/>
                  <a:pt x="166" y="144"/>
                  <a:pt x="170" y="139"/>
                </a:cubicBezTo>
                <a:cubicBezTo>
                  <a:pt x="170" y="138"/>
                  <a:pt x="170" y="138"/>
                  <a:pt x="170" y="138"/>
                </a:cubicBezTo>
                <a:cubicBezTo>
                  <a:pt x="173" y="132"/>
                  <a:pt x="179" y="128"/>
                  <a:pt x="185" y="126"/>
                </a:cubicBezTo>
                <a:cubicBezTo>
                  <a:pt x="193" y="124"/>
                  <a:pt x="193" y="124"/>
                  <a:pt x="193" y="124"/>
                </a:cubicBezTo>
                <a:cubicBezTo>
                  <a:pt x="197" y="123"/>
                  <a:pt x="200" y="120"/>
                  <a:pt x="200" y="116"/>
                </a:cubicBezTo>
                <a:cubicBezTo>
                  <a:pt x="200" y="79"/>
                  <a:pt x="200" y="79"/>
                  <a:pt x="200" y="79"/>
                </a:cubicBezTo>
                <a:cubicBezTo>
                  <a:pt x="200" y="75"/>
                  <a:pt x="197" y="72"/>
                  <a:pt x="193" y="71"/>
                </a:cubicBezTo>
                <a:cubicBezTo>
                  <a:pt x="185" y="69"/>
                  <a:pt x="185" y="69"/>
                  <a:pt x="185" y="69"/>
                </a:cubicBezTo>
                <a:cubicBezTo>
                  <a:pt x="179" y="67"/>
                  <a:pt x="173" y="63"/>
                  <a:pt x="170" y="58"/>
                </a:cubicBezTo>
                <a:cubicBezTo>
                  <a:pt x="170" y="57"/>
                  <a:pt x="170" y="57"/>
                  <a:pt x="170" y="57"/>
                </a:cubicBezTo>
                <a:cubicBezTo>
                  <a:pt x="166" y="51"/>
                  <a:pt x="165" y="44"/>
                  <a:pt x="167" y="38"/>
                </a:cubicBezTo>
                <a:cubicBezTo>
                  <a:pt x="169" y="30"/>
                  <a:pt x="169" y="30"/>
                  <a:pt x="169" y="30"/>
                </a:cubicBezTo>
                <a:cubicBezTo>
                  <a:pt x="170" y="26"/>
                  <a:pt x="169" y="22"/>
                  <a:pt x="166" y="20"/>
                </a:cubicBezTo>
                <a:cubicBezTo>
                  <a:pt x="134" y="2"/>
                  <a:pt x="134" y="2"/>
                  <a:pt x="134" y="2"/>
                </a:cubicBezTo>
                <a:cubicBezTo>
                  <a:pt x="130" y="0"/>
                  <a:pt x="126" y="0"/>
                  <a:pt x="123" y="3"/>
                </a:cubicBezTo>
                <a:cubicBezTo>
                  <a:pt x="117" y="9"/>
                  <a:pt x="117" y="9"/>
                  <a:pt x="117" y="9"/>
                </a:cubicBezTo>
                <a:cubicBezTo>
                  <a:pt x="113" y="14"/>
                  <a:pt x="106" y="17"/>
                  <a:pt x="100" y="17"/>
                </a:cubicBezTo>
                <a:cubicBezTo>
                  <a:pt x="99" y="17"/>
                  <a:pt x="99" y="17"/>
                  <a:pt x="99" y="17"/>
                </a:cubicBezTo>
                <a:cubicBezTo>
                  <a:pt x="93" y="17"/>
                  <a:pt x="86" y="14"/>
                  <a:pt x="82" y="9"/>
                </a:cubicBezTo>
                <a:cubicBezTo>
                  <a:pt x="76" y="3"/>
                  <a:pt x="76" y="3"/>
                  <a:pt x="76" y="3"/>
                </a:cubicBezTo>
                <a:cubicBezTo>
                  <a:pt x="73" y="0"/>
                  <a:pt x="69" y="0"/>
                  <a:pt x="66" y="2"/>
                </a:cubicBezTo>
                <a:cubicBezTo>
                  <a:pt x="34" y="20"/>
                  <a:pt x="34" y="20"/>
                  <a:pt x="34" y="20"/>
                </a:cubicBezTo>
                <a:cubicBezTo>
                  <a:pt x="30" y="22"/>
                  <a:pt x="29" y="26"/>
                  <a:pt x="30" y="30"/>
                </a:cubicBezTo>
                <a:cubicBezTo>
                  <a:pt x="32" y="38"/>
                  <a:pt x="32" y="38"/>
                  <a:pt x="32" y="38"/>
                </a:cubicBezTo>
                <a:cubicBezTo>
                  <a:pt x="34" y="44"/>
                  <a:pt x="33" y="51"/>
                  <a:pt x="29" y="57"/>
                </a:cubicBezTo>
                <a:cubicBezTo>
                  <a:pt x="29" y="57"/>
                  <a:pt x="29" y="57"/>
                  <a:pt x="29" y="58"/>
                </a:cubicBezTo>
                <a:cubicBezTo>
                  <a:pt x="26" y="63"/>
                  <a:pt x="20" y="67"/>
                  <a:pt x="14" y="69"/>
                </a:cubicBezTo>
                <a:cubicBezTo>
                  <a:pt x="6" y="71"/>
                  <a:pt x="6" y="71"/>
                  <a:pt x="6" y="71"/>
                </a:cubicBezTo>
                <a:cubicBezTo>
                  <a:pt x="2" y="72"/>
                  <a:pt x="0" y="75"/>
                  <a:pt x="0" y="79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20"/>
                  <a:pt x="2" y="123"/>
                  <a:pt x="6" y="124"/>
                </a:cubicBezTo>
                <a:close/>
                <a:moveTo>
                  <a:pt x="100" y="73"/>
                </a:moveTo>
                <a:cubicBezTo>
                  <a:pt x="113" y="73"/>
                  <a:pt x="125" y="84"/>
                  <a:pt x="125" y="98"/>
                </a:cubicBezTo>
                <a:cubicBezTo>
                  <a:pt x="125" y="111"/>
                  <a:pt x="113" y="123"/>
                  <a:pt x="100" y="123"/>
                </a:cubicBezTo>
                <a:cubicBezTo>
                  <a:pt x="86" y="123"/>
                  <a:pt x="75" y="111"/>
                  <a:pt x="75" y="98"/>
                </a:cubicBezTo>
                <a:cubicBezTo>
                  <a:pt x="75" y="84"/>
                  <a:pt x="86" y="73"/>
                  <a:pt x="100" y="73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3" name="Freeform 121">
            <a:extLst>
              <a:ext uri="{FF2B5EF4-FFF2-40B4-BE49-F238E27FC236}">
                <a16:creationId xmlns:a16="http://schemas.microsoft.com/office/drawing/2014/main" id="{F85FAF13-E5A4-56DA-A90E-3520C95C5262}"/>
              </a:ext>
            </a:extLst>
          </p:cNvPr>
          <p:cNvSpPr>
            <a:spLocks noChangeAspect="1"/>
          </p:cNvSpPr>
          <p:nvPr/>
        </p:nvSpPr>
        <p:spPr bwMode="auto">
          <a:xfrm>
            <a:off x="5503807" y="4985604"/>
            <a:ext cx="328539" cy="328539"/>
          </a:xfrm>
          <a:custGeom>
            <a:avLst/>
            <a:gdLst>
              <a:gd name="T0" fmla="*/ 187 w 200"/>
              <a:gd name="T1" fmla="*/ 50 h 200"/>
              <a:gd name="T2" fmla="*/ 150 w 200"/>
              <a:gd name="T3" fmla="*/ 50 h 200"/>
              <a:gd name="T4" fmla="*/ 150 w 200"/>
              <a:gd name="T5" fmla="*/ 13 h 200"/>
              <a:gd name="T6" fmla="*/ 137 w 200"/>
              <a:gd name="T7" fmla="*/ 0 h 200"/>
              <a:gd name="T8" fmla="*/ 0 w 200"/>
              <a:gd name="T9" fmla="*/ 0 h 200"/>
              <a:gd name="T10" fmla="*/ 0 w 200"/>
              <a:gd name="T11" fmla="*/ 138 h 200"/>
              <a:gd name="T12" fmla="*/ 12 w 200"/>
              <a:gd name="T13" fmla="*/ 150 h 200"/>
              <a:gd name="T14" fmla="*/ 50 w 200"/>
              <a:gd name="T15" fmla="*/ 150 h 200"/>
              <a:gd name="T16" fmla="*/ 50 w 200"/>
              <a:gd name="T17" fmla="*/ 125 h 200"/>
              <a:gd name="T18" fmla="*/ 25 w 200"/>
              <a:gd name="T19" fmla="*/ 125 h 200"/>
              <a:gd name="T20" fmla="*/ 25 w 200"/>
              <a:gd name="T21" fmla="*/ 25 h 200"/>
              <a:gd name="T22" fmla="*/ 125 w 200"/>
              <a:gd name="T23" fmla="*/ 25 h 200"/>
              <a:gd name="T24" fmla="*/ 125 w 200"/>
              <a:gd name="T25" fmla="*/ 50 h 200"/>
              <a:gd name="T26" fmla="*/ 50 w 200"/>
              <a:gd name="T27" fmla="*/ 50 h 200"/>
              <a:gd name="T28" fmla="*/ 50 w 200"/>
              <a:gd name="T29" fmla="*/ 125 h 200"/>
              <a:gd name="T30" fmla="*/ 75 w 200"/>
              <a:gd name="T31" fmla="*/ 125 h 200"/>
              <a:gd name="T32" fmla="*/ 75 w 200"/>
              <a:gd name="T33" fmla="*/ 107 h 200"/>
              <a:gd name="T34" fmla="*/ 94 w 200"/>
              <a:gd name="T35" fmla="*/ 125 h 200"/>
              <a:gd name="T36" fmla="*/ 106 w 200"/>
              <a:gd name="T37" fmla="*/ 138 h 200"/>
              <a:gd name="T38" fmla="*/ 94 w 200"/>
              <a:gd name="T39" fmla="*/ 150 h 200"/>
              <a:gd name="T40" fmla="*/ 75 w 200"/>
              <a:gd name="T41" fmla="*/ 169 h 200"/>
              <a:gd name="T42" fmla="*/ 75 w 200"/>
              <a:gd name="T43" fmla="*/ 150 h 200"/>
              <a:gd name="T44" fmla="*/ 50 w 200"/>
              <a:gd name="T45" fmla="*/ 150 h 200"/>
              <a:gd name="T46" fmla="*/ 50 w 200"/>
              <a:gd name="T47" fmla="*/ 188 h 200"/>
              <a:gd name="T48" fmla="*/ 62 w 200"/>
              <a:gd name="T49" fmla="*/ 200 h 200"/>
              <a:gd name="T50" fmla="*/ 187 w 200"/>
              <a:gd name="T51" fmla="*/ 200 h 200"/>
              <a:gd name="T52" fmla="*/ 200 w 200"/>
              <a:gd name="T53" fmla="*/ 188 h 200"/>
              <a:gd name="T54" fmla="*/ 200 w 200"/>
              <a:gd name="T55" fmla="*/ 63 h 200"/>
              <a:gd name="T56" fmla="*/ 187 w 200"/>
              <a:gd name="T57" fmla="*/ 5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0" h="200">
                <a:moveTo>
                  <a:pt x="187" y="50"/>
                </a:moveTo>
                <a:cubicBezTo>
                  <a:pt x="150" y="50"/>
                  <a:pt x="150" y="50"/>
                  <a:pt x="150" y="50"/>
                </a:cubicBezTo>
                <a:cubicBezTo>
                  <a:pt x="150" y="13"/>
                  <a:pt x="150" y="13"/>
                  <a:pt x="150" y="13"/>
                </a:cubicBezTo>
                <a:cubicBezTo>
                  <a:pt x="150" y="6"/>
                  <a:pt x="144" y="0"/>
                  <a:pt x="13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38"/>
                  <a:pt x="0" y="138"/>
                  <a:pt x="0" y="138"/>
                </a:cubicBezTo>
                <a:cubicBezTo>
                  <a:pt x="0" y="145"/>
                  <a:pt x="5" y="150"/>
                  <a:pt x="12" y="150"/>
                </a:cubicBezTo>
                <a:cubicBezTo>
                  <a:pt x="50" y="150"/>
                  <a:pt x="50" y="150"/>
                  <a:pt x="50" y="150"/>
                </a:cubicBezTo>
                <a:cubicBezTo>
                  <a:pt x="50" y="125"/>
                  <a:pt x="50" y="125"/>
                  <a:pt x="50" y="125"/>
                </a:cubicBezTo>
                <a:cubicBezTo>
                  <a:pt x="25" y="125"/>
                  <a:pt x="25" y="125"/>
                  <a:pt x="25" y="125"/>
                </a:cubicBezTo>
                <a:cubicBezTo>
                  <a:pt x="25" y="25"/>
                  <a:pt x="25" y="25"/>
                  <a:pt x="25" y="25"/>
                </a:cubicBezTo>
                <a:cubicBezTo>
                  <a:pt x="125" y="25"/>
                  <a:pt x="125" y="25"/>
                  <a:pt x="125" y="25"/>
                </a:cubicBezTo>
                <a:cubicBezTo>
                  <a:pt x="125" y="50"/>
                  <a:pt x="125" y="50"/>
                  <a:pt x="125" y="50"/>
                </a:cubicBezTo>
                <a:cubicBezTo>
                  <a:pt x="50" y="50"/>
                  <a:pt x="50" y="50"/>
                  <a:pt x="50" y="50"/>
                </a:cubicBezTo>
                <a:cubicBezTo>
                  <a:pt x="50" y="125"/>
                  <a:pt x="50" y="125"/>
                  <a:pt x="50" y="125"/>
                </a:cubicBezTo>
                <a:cubicBezTo>
                  <a:pt x="75" y="125"/>
                  <a:pt x="75" y="125"/>
                  <a:pt x="75" y="125"/>
                </a:cubicBezTo>
                <a:cubicBezTo>
                  <a:pt x="75" y="107"/>
                  <a:pt x="75" y="107"/>
                  <a:pt x="75" y="107"/>
                </a:cubicBezTo>
                <a:cubicBezTo>
                  <a:pt x="94" y="125"/>
                  <a:pt x="94" y="125"/>
                  <a:pt x="94" y="125"/>
                </a:cubicBezTo>
                <a:cubicBezTo>
                  <a:pt x="106" y="138"/>
                  <a:pt x="106" y="138"/>
                  <a:pt x="106" y="138"/>
                </a:cubicBezTo>
                <a:cubicBezTo>
                  <a:pt x="94" y="150"/>
                  <a:pt x="94" y="150"/>
                  <a:pt x="94" y="150"/>
                </a:cubicBezTo>
                <a:cubicBezTo>
                  <a:pt x="75" y="169"/>
                  <a:pt x="75" y="169"/>
                  <a:pt x="75" y="169"/>
                </a:cubicBezTo>
                <a:cubicBezTo>
                  <a:pt x="75" y="150"/>
                  <a:pt x="75" y="150"/>
                  <a:pt x="75" y="150"/>
                </a:cubicBezTo>
                <a:cubicBezTo>
                  <a:pt x="50" y="150"/>
                  <a:pt x="50" y="150"/>
                  <a:pt x="50" y="150"/>
                </a:cubicBezTo>
                <a:cubicBezTo>
                  <a:pt x="50" y="188"/>
                  <a:pt x="50" y="188"/>
                  <a:pt x="50" y="188"/>
                </a:cubicBezTo>
                <a:cubicBezTo>
                  <a:pt x="50" y="195"/>
                  <a:pt x="55" y="200"/>
                  <a:pt x="62" y="200"/>
                </a:cubicBezTo>
                <a:cubicBezTo>
                  <a:pt x="187" y="200"/>
                  <a:pt x="187" y="200"/>
                  <a:pt x="187" y="200"/>
                </a:cubicBezTo>
                <a:cubicBezTo>
                  <a:pt x="194" y="200"/>
                  <a:pt x="200" y="195"/>
                  <a:pt x="200" y="188"/>
                </a:cubicBezTo>
                <a:cubicBezTo>
                  <a:pt x="200" y="63"/>
                  <a:pt x="200" y="63"/>
                  <a:pt x="200" y="63"/>
                </a:cubicBezTo>
                <a:cubicBezTo>
                  <a:pt x="200" y="56"/>
                  <a:pt x="194" y="50"/>
                  <a:pt x="187" y="50"/>
                </a:cubicBezTo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4" name="Freeform 22">
            <a:extLst>
              <a:ext uri="{FF2B5EF4-FFF2-40B4-BE49-F238E27FC236}">
                <a16:creationId xmlns:a16="http://schemas.microsoft.com/office/drawing/2014/main" id="{6EB00895-75F6-B10C-F1EC-51907C2B103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03265" y="4039820"/>
            <a:ext cx="329622" cy="329622"/>
          </a:xfrm>
          <a:custGeom>
            <a:avLst/>
            <a:gdLst>
              <a:gd name="T0" fmla="*/ 100 w 200"/>
              <a:gd name="T1" fmla="*/ 0 h 200"/>
              <a:gd name="T2" fmla="*/ 0 w 200"/>
              <a:gd name="T3" fmla="*/ 100 h 200"/>
              <a:gd name="T4" fmla="*/ 100 w 200"/>
              <a:gd name="T5" fmla="*/ 200 h 200"/>
              <a:gd name="T6" fmla="*/ 200 w 200"/>
              <a:gd name="T7" fmla="*/ 100 h 200"/>
              <a:gd name="T8" fmla="*/ 100 w 200"/>
              <a:gd name="T9" fmla="*/ 0 h 200"/>
              <a:gd name="T10" fmla="*/ 113 w 200"/>
              <a:gd name="T11" fmla="*/ 155 h 200"/>
              <a:gd name="T12" fmla="*/ 88 w 200"/>
              <a:gd name="T13" fmla="*/ 155 h 200"/>
              <a:gd name="T14" fmla="*/ 88 w 200"/>
              <a:gd name="T15" fmla="*/ 95 h 200"/>
              <a:gd name="T16" fmla="*/ 113 w 200"/>
              <a:gd name="T17" fmla="*/ 95 h 200"/>
              <a:gd name="T18" fmla="*/ 113 w 200"/>
              <a:gd name="T19" fmla="*/ 155 h 200"/>
              <a:gd name="T20" fmla="*/ 100 w 200"/>
              <a:gd name="T21" fmla="*/ 70 h 200"/>
              <a:gd name="T22" fmla="*/ 88 w 200"/>
              <a:gd name="T23" fmla="*/ 58 h 200"/>
              <a:gd name="T24" fmla="*/ 100 w 200"/>
              <a:gd name="T25" fmla="*/ 45 h 200"/>
              <a:gd name="T26" fmla="*/ 113 w 200"/>
              <a:gd name="T27" fmla="*/ 58 h 200"/>
              <a:gd name="T28" fmla="*/ 100 w 200"/>
              <a:gd name="T29" fmla="*/ 7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0" h="200">
                <a:moveTo>
                  <a:pt x="100" y="0"/>
                </a:moveTo>
                <a:cubicBezTo>
                  <a:pt x="45" y="0"/>
                  <a:pt x="0" y="45"/>
                  <a:pt x="0" y="100"/>
                </a:cubicBezTo>
                <a:cubicBezTo>
                  <a:pt x="0" y="155"/>
                  <a:pt x="45" y="200"/>
                  <a:pt x="100" y="200"/>
                </a:cubicBezTo>
                <a:cubicBezTo>
                  <a:pt x="155" y="200"/>
                  <a:pt x="200" y="155"/>
                  <a:pt x="200" y="100"/>
                </a:cubicBezTo>
                <a:cubicBezTo>
                  <a:pt x="200" y="45"/>
                  <a:pt x="155" y="0"/>
                  <a:pt x="100" y="0"/>
                </a:cubicBezTo>
                <a:close/>
                <a:moveTo>
                  <a:pt x="113" y="155"/>
                </a:moveTo>
                <a:cubicBezTo>
                  <a:pt x="88" y="155"/>
                  <a:pt x="88" y="155"/>
                  <a:pt x="88" y="155"/>
                </a:cubicBezTo>
                <a:cubicBezTo>
                  <a:pt x="88" y="95"/>
                  <a:pt x="88" y="95"/>
                  <a:pt x="88" y="95"/>
                </a:cubicBezTo>
                <a:cubicBezTo>
                  <a:pt x="113" y="95"/>
                  <a:pt x="113" y="95"/>
                  <a:pt x="113" y="95"/>
                </a:cubicBezTo>
                <a:lnTo>
                  <a:pt x="113" y="155"/>
                </a:lnTo>
                <a:close/>
                <a:moveTo>
                  <a:pt x="100" y="70"/>
                </a:moveTo>
                <a:cubicBezTo>
                  <a:pt x="93" y="70"/>
                  <a:pt x="88" y="65"/>
                  <a:pt x="88" y="58"/>
                </a:cubicBezTo>
                <a:cubicBezTo>
                  <a:pt x="88" y="51"/>
                  <a:pt x="93" y="45"/>
                  <a:pt x="100" y="45"/>
                </a:cubicBezTo>
                <a:cubicBezTo>
                  <a:pt x="107" y="45"/>
                  <a:pt x="113" y="51"/>
                  <a:pt x="113" y="58"/>
                </a:cubicBezTo>
                <a:cubicBezTo>
                  <a:pt x="113" y="65"/>
                  <a:pt x="107" y="70"/>
                  <a:pt x="100" y="70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5" name="Freeform 112">
            <a:extLst>
              <a:ext uri="{FF2B5EF4-FFF2-40B4-BE49-F238E27FC236}">
                <a16:creationId xmlns:a16="http://schemas.microsoft.com/office/drawing/2014/main" id="{9840078C-BA48-6BD8-E76C-3A57EC2385B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03807" y="4520056"/>
            <a:ext cx="328539" cy="328539"/>
          </a:xfrm>
          <a:custGeom>
            <a:avLst/>
            <a:gdLst>
              <a:gd name="T0" fmla="*/ 113 w 200"/>
              <a:gd name="T1" fmla="*/ 52 h 200"/>
              <a:gd name="T2" fmla="*/ 113 w 200"/>
              <a:gd name="T3" fmla="*/ 88 h 200"/>
              <a:gd name="T4" fmla="*/ 149 w 200"/>
              <a:gd name="T5" fmla="*/ 88 h 200"/>
              <a:gd name="T6" fmla="*/ 113 w 200"/>
              <a:gd name="T7" fmla="*/ 52 h 200"/>
              <a:gd name="T8" fmla="*/ 175 w 200"/>
              <a:gd name="T9" fmla="*/ 88 h 200"/>
              <a:gd name="T10" fmla="*/ 200 w 200"/>
              <a:gd name="T11" fmla="*/ 88 h 200"/>
              <a:gd name="T12" fmla="*/ 113 w 200"/>
              <a:gd name="T13" fmla="*/ 0 h 200"/>
              <a:gd name="T14" fmla="*/ 113 w 200"/>
              <a:gd name="T15" fmla="*/ 26 h 200"/>
              <a:gd name="T16" fmla="*/ 175 w 200"/>
              <a:gd name="T17" fmla="*/ 88 h 200"/>
              <a:gd name="T18" fmla="*/ 0 w 200"/>
              <a:gd name="T19" fmla="*/ 88 h 200"/>
              <a:gd name="T20" fmla="*/ 26 w 200"/>
              <a:gd name="T21" fmla="*/ 88 h 200"/>
              <a:gd name="T22" fmla="*/ 88 w 200"/>
              <a:gd name="T23" fmla="*/ 26 h 200"/>
              <a:gd name="T24" fmla="*/ 88 w 200"/>
              <a:gd name="T25" fmla="*/ 0 h 200"/>
              <a:gd name="T26" fmla="*/ 0 w 200"/>
              <a:gd name="T27" fmla="*/ 88 h 200"/>
              <a:gd name="T28" fmla="*/ 149 w 200"/>
              <a:gd name="T29" fmla="*/ 113 h 200"/>
              <a:gd name="T30" fmla="*/ 113 w 200"/>
              <a:gd name="T31" fmla="*/ 113 h 200"/>
              <a:gd name="T32" fmla="*/ 113 w 200"/>
              <a:gd name="T33" fmla="*/ 149 h 200"/>
              <a:gd name="T34" fmla="*/ 149 w 200"/>
              <a:gd name="T35" fmla="*/ 113 h 200"/>
              <a:gd name="T36" fmla="*/ 52 w 200"/>
              <a:gd name="T37" fmla="*/ 88 h 200"/>
              <a:gd name="T38" fmla="*/ 88 w 200"/>
              <a:gd name="T39" fmla="*/ 88 h 200"/>
              <a:gd name="T40" fmla="*/ 88 w 200"/>
              <a:gd name="T41" fmla="*/ 52 h 200"/>
              <a:gd name="T42" fmla="*/ 52 w 200"/>
              <a:gd name="T43" fmla="*/ 88 h 200"/>
              <a:gd name="T44" fmla="*/ 88 w 200"/>
              <a:gd name="T45" fmla="*/ 149 h 200"/>
              <a:gd name="T46" fmla="*/ 88 w 200"/>
              <a:gd name="T47" fmla="*/ 113 h 200"/>
              <a:gd name="T48" fmla="*/ 52 w 200"/>
              <a:gd name="T49" fmla="*/ 113 h 200"/>
              <a:gd name="T50" fmla="*/ 88 w 200"/>
              <a:gd name="T51" fmla="*/ 149 h 200"/>
              <a:gd name="T52" fmla="*/ 113 w 200"/>
              <a:gd name="T53" fmla="*/ 175 h 200"/>
              <a:gd name="T54" fmla="*/ 113 w 200"/>
              <a:gd name="T55" fmla="*/ 200 h 200"/>
              <a:gd name="T56" fmla="*/ 200 w 200"/>
              <a:gd name="T57" fmla="*/ 113 h 200"/>
              <a:gd name="T58" fmla="*/ 175 w 200"/>
              <a:gd name="T59" fmla="*/ 113 h 200"/>
              <a:gd name="T60" fmla="*/ 113 w 200"/>
              <a:gd name="T61" fmla="*/ 175 h 200"/>
              <a:gd name="T62" fmla="*/ 26 w 200"/>
              <a:gd name="T63" fmla="*/ 113 h 200"/>
              <a:gd name="T64" fmla="*/ 0 w 200"/>
              <a:gd name="T65" fmla="*/ 113 h 200"/>
              <a:gd name="T66" fmla="*/ 88 w 200"/>
              <a:gd name="T67" fmla="*/ 200 h 200"/>
              <a:gd name="T68" fmla="*/ 88 w 200"/>
              <a:gd name="T69" fmla="*/ 175 h 200"/>
              <a:gd name="T70" fmla="*/ 26 w 200"/>
              <a:gd name="T71" fmla="*/ 113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0" h="200">
                <a:moveTo>
                  <a:pt x="113" y="52"/>
                </a:moveTo>
                <a:cubicBezTo>
                  <a:pt x="113" y="88"/>
                  <a:pt x="113" y="88"/>
                  <a:pt x="113" y="88"/>
                </a:cubicBezTo>
                <a:cubicBezTo>
                  <a:pt x="149" y="88"/>
                  <a:pt x="149" y="88"/>
                  <a:pt x="149" y="88"/>
                </a:cubicBezTo>
                <a:cubicBezTo>
                  <a:pt x="144" y="70"/>
                  <a:pt x="131" y="56"/>
                  <a:pt x="113" y="52"/>
                </a:cubicBezTo>
                <a:close/>
                <a:moveTo>
                  <a:pt x="175" y="88"/>
                </a:moveTo>
                <a:cubicBezTo>
                  <a:pt x="200" y="88"/>
                  <a:pt x="200" y="88"/>
                  <a:pt x="200" y="88"/>
                </a:cubicBezTo>
                <a:cubicBezTo>
                  <a:pt x="195" y="42"/>
                  <a:pt x="159" y="6"/>
                  <a:pt x="113" y="0"/>
                </a:cubicBezTo>
                <a:cubicBezTo>
                  <a:pt x="113" y="26"/>
                  <a:pt x="113" y="26"/>
                  <a:pt x="113" y="26"/>
                </a:cubicBezTo>
                <a:cubicBezTo>
                  <a:pt x="145" y="31"/>
                  <a:pt x="170" y="56"/>
                  <a:pt x="175" y="88"/>
                </a:cubicBezTo>
                <a:close/>
                <a:moveTo>
                  <a:pt x="0" y="88"/>
                </a:moveTo>
                <a:cubicBezTo>
                  <a:pt x="26" y="88"/>
                  <a:pt x="26" y="88"/>
                  <a:pt x="26" y="88"/>
                </a:cubicBezTo>
                <a:cubicBezTo>
                  <a:pt x="31" y="56"/>
                  <a:pt x="56" y="31"/>
                  <a:pt x="88" y="26"/>
                </a:cubicBezTo>
                <a:cubicBezTo>
                  <a:pt x="88" y="0"/>
                  <a:pt x="88" y="0"/>
                  <a:pt x="88" y="0"/>
                </a:cubicBezTo>
                <a:cubicBezTo>
                  <a:pt x="42" y="6"/>
                  <a:pt x="6" y="42"/>
                  <a:pt x="0" y="88"/>
                </a:cubicBezTo>
                <a:close/>
                <a:moveTo>
                  <a:pt x="149" y="113"/>
                </a:moveTo>
                <a:cubicBezTo>
                  <a:pt x="113" y="113"/>
                  <a:pt x="113" y="113"/>
                  <a:pt x="113" y="113"/>
                </a:cubicBezTo>
                <a:cubicBezTo>
                  <a:pt x="113" y="149"/>
                  <a:pt x="113" y="149"/>
                  <a:pt x="113" y="149"/>
                </a:cubicBezTo>
                <a:cubicBezTo>
                  <a:pt x="131" y="144"/>
                  <a:pt x="144" y="131"/>
                  <a:pt x="149" y="113"/>
                </a:cubicBezTo>
                <a:close/>
                <a:moveTo>
                  <a:pt x="52" y="88"/>
                </a:moveTo>
                <a:cubicBezTo>
                  <a:pt x="88" y="88"/>
                  <a:pt x="88" y="88"/>
                  <a:pt x="88" y="88"/>
                </a:cubicBezTo>
                <a:cubicBezTo>
                  <a:pt x="88" y="52"/>
                  <a:pt x="88" y="52"/>
                  <a:pt x="88" y="52"/>
                </a:cubicBezTo>
                <a:cubicBezTo>
                  <a:pt x="70" y="56"/>
                  <a:pt x="56" y="70"/>
                  <a:pt x="52" y="88"/>
                </a:cubicBezTo>
                <a:close/>
                <a:moveTo>
                  <a:pt x="88" y="149"/>
                </a:moveTo>
                <a:cubicBezTo>
                  <a:pt x="88" y="113"/>
                  <a:pt x="88" y="113"/>
                  <a:pt x="88" y="113"/>
                </a:cubicBezTo>
                <a:cubicBezTo>
                  <a:pt x="52" y="113"/>
                  <a:pt x="52" y="113"/>
                  <a:pt x="52" y="113"/>
                </a:cubicBezTo>
                <a:cubicBezTo>
                  <a:pt x="56" y="131"/>
                  <a:pt x="70" y="144"/>
                  <a:pt x="88" y="149"/>
                </a:cubicBezTo>
                <a:close/>
                <a:moveTo>
                  <a:pt x="113" y="175"/>
                </a:moveTo>
                <a:cubicBezTo>
                  <a:pt x="113" y="200"/>
                  <a:pt x="113" y="200"/>
                  <a:pt x="113" y="200"/>
                </a:cubicBezTo>
                <a:cubicBezTo>
                  <a:pt x="159" y="195"/>
                  <a:pt x="195" y="159"/>
                  <a:pt x="200" y="113"/>
                </a:cubicBezTo>
                <a:cubicBezTo>
                  <a:pt x="175" y="113"/>
                  <a:pt x="175" y="113"/>
                  <a:pt x="175" y="113"/>
                </a:cubicBezTo>
                <a:cubicBezTo>
                  <a:pt x="170" y="145"/>
                  <a:pt x="145" y="170"/>
                  <a:pt x="113" y="175"/>
                </a:cubicBezTo>
                <a:close/>
                <a:moveTo>
                  <a:pt x="26" y="113"/>
                </a:moveTo>
                <a:cubicBezTo>
                  <a:pt x="0" y="113"/>
                  <a:pt x="0" y="113"/>
                  <a:pt x="0" y="113"/>
                </a:cubicBezTo>
                <a:cubicBezTo>
                  <a:pt x="6" y="159"/>
                  <a:pt x="42" y="195"/>
                  <a:pt x="88" y="200"/>
                </a:cubicBezTo>
                <a:cubicBezTo>
                  <a:pt x="88" y="175"/>
                  <a:pt x="88" y="175"/>
                  <a:pt x="88" y="175"/>
                </a:cubicBezTo>
                <a:cubicBezTo>
                  <a:pt x="56" y="170"/>
                  <a:pt x="31" y="145"/>
                  <a:pt x="26" y="113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6" name="Freeform 45">
            <a:extLst>
              <a:ext uri="{FF2B5EF4-FFF2-40B4-BE49-F238E27FC236}">
                <a16:creationId xmlns:a16="http://schemas.microsoft.com/office/drawing/2014/main" id="{42EF31A6-968D-A26B-1043-66C7D8A84EE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23867" y="2620331"/>
            <a:ext cx="288419" cy="332874"/>
          </a:xfrm>
          <a:custGeom>
            <a:avLst/>
            <a:gdLst>
              <a:gd name="T0" fmla="*/ 175 w 175"/>
              <a:gd name="T1" fmla="*/ 25 h 200"/>
              <a:gd name="T2" fmla="*/ 175 w 175"/>
              <a:gd name="T3" fmla="*/ 56 h 200"/>
              <a:gd name="T4" fmla="*/ 0 w 175"/>
              <a:gd name="T5" fmla="*/ 56 h 200"/>
              <a:gd name="T6" fmla="*/ 0 w 175"/>
              <a:gd name="T7" fmla="*/ 25 h 200"/>
              <a:gd name="T8" fmla="*/ 25 w 175"/>
              <a:gd name="T9" fmla="*/ 25 h 200"/>
              <a:gd name="T10" fmla="*/ 25 w 175"/>
              <a:gd name="T11" fmla="*/ 0 h 200"/>
              <a:gd name="T12" fmla="*/ 50 w 175"/>
              <a:gd name="T13" fmla="*/ 0 h 200"/>
              <a:gd name="T14" fmla="*/ 50 w 175"/>
              <a:gd name="T15" fmla="*/ 25 h 200"/>
              <a:gd name="T16" fmla="*/ 125 w 175"/>
              <a:gd name="T17" fmla="*/ 25 h 200"/>
              <a:gd name="T18" fmla="*/ 125 w 175"/>
              <a:gd name="T19" fmla="*/ 0 h 200"/>
              <a:gd name="T20" fmla="*/ 150 w 175"/>
              <a:gd name="T21" fmla="*/ 0 h 200"/>
              <a:gd name="T22" fmla="*/ 150 w 175"/>
              <a:gd name="T23" fmla="*/ 25 h 200"/>
              <a:gd name="T24" fmla="*/ 175 w 175"/>
              <a:gd name="T25" fmla="*/ 25 h 200"/>
              <a:gd name="T26" fmla="*/ 0 w 175"/>
              <a:gd name="T27" fmla="*/ 81 h 200"/>
              <a:gd name="T28" fmla="*/ 175 w 175"/>
              <a:gd name="T29" fmla="*/ 81 h 200"/>
              <a:gd name="T30" fmla="*/ 175 w 175"/>
              <a:gd name="T31" fmla="*/ 187 h 200"/>
              <a:gd name="T32" fmla="*/ 162 w 175"/>
              <a:gd name="T33" fmla="*/ 200 h 200"/>
              <a:gd name="T34" fmla="*/ 12 w 175"/>
              <a:gd name="T35" fmla="*/ 200 h 200"/>
              <a:gd name="T36" fmla="*/ 0 w 175"/>
              <a:gd name="T37" fmla="*/ 187 h 200"/>
              <a:gd name="T38" fmla="*/ 0 w 175"/>
              <a:gd name="T39" fmla="*/ 81 h 200"/>
              <a:gd name="T40" fmla="*/ 125 w 175"/>
              <a:gd name="T41" fmla="*/ 175 h 200"/>
              <a:gd name="T42" fmla="*/ 150 w 175"/>
              <a:gd name="T43" fmla="*/ 175 h 200"/>
              <a:gd name="T44" fmla="*/ 150 w 175"/>
              <a:gd name="T45" fmla="*/ 150 h 200"/>
              <a:gd name="T46" fmla="*/ 125 w 175"/>
              <a:gd name="T47" fmla="*/ 150 h 200"/>
              <a:gd name="T48" fmla="*/ 125 w 175"/>
              <a:gd name="T49" fmla="*/ 17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75" h="200">
                <a:moveTo>
                  <a:pt x="175" y="25"/>
                </a:moveTo>
                <a:cubicBezTo>
                  <a:pt x="175" y="56"/>
                  <a:pt x="175" y="56"/>
                  <a:pt x="175" y="56"/>
                </a:cubicBezTo>
                <a:cubicBezTo>
                  <a:pt x="0" y="56"/>
                  <a:pt x="0" y="56"/>
                  <a:pt x="0" y="56"/>
                </a:cubicBezTo>
                <a:cubicBezTo>
                  <a:pt x="0" y="25"/>
                  <a:pt x="0" y="25"/>
                  <a:pt x="0" y="25"/>
                </a:cubicBezTo>
                <a:cubicBezTo>
                  <a:pt x="25" y="25"/>
                  <a:pt x="25" y="25"/>
                  <a:pt x="25" y="25"/>
                </a:cubicBezTo>
                <a:cubicBezTo>
                  <a:pt x="25" y="0"/>
                  <a:pt x="25" y="0"/>
                  <a:pt x="25" y="0"/>
                </a:cubicBezTo>
                <a:cubicBezTo>
                  <a:pt x="50" y="0"/>
                  <a:pt x="50" y="0"/>
                  <a:pt x="50" y="0"/>
                </a:cubicBezTo>
                <a:cubicBezTo>
                  <a:pt x="50" y="25"/>
                  <a:pt x="50" y="25"/>
                  <a:pt x="50" y="25"/>
                </a:cubicBezTo>
                <a:cubicBezTo>
                  <a:pt x="125" y="25"/>
                  <a:pt x="125" y="25"/>
                  <a:pt x="125" y="25"/>
                </a:cubicBezTo>
                <a:cubicBezTo>
                  <a:pt x="125" y="0"/>
                  <a:pt x="125" y="0"/>
                  <a:pt x="125" y="0"/>
                </a:cubicBezTo>
                <a:cubicBezTo>
                  <a:pt x="150" y="0"/>
                  <a:pt x="150" y="0"/>
                  <a:pt x="150" y="0"/>
                </a:cubicBezTo>
                <a:cubicBezTo>
                  <a:pt x="150" y="25"/>
                  <a:pt x="150" y="25"/>
                  <a:pt x="150" y="25"/>
                </a:cubicBezTo>
                <a:lnTo>
                  <a:pt x="175" y="25"/>
                </a:lnTo>
                <a:close/>
                <a:moveTo>
                  <a:pt x="0" y="81"/>
                </a:moveTo>
                <a:cubicBezTo>
                  <a:pt x="175" y="81"/>
                  <a:pt x="175" y="81"/>
                  <a:pt x="175" y="81"/>
                </a:cubicBezTo>
                <a:cubicBezTo>
                  <a:pt x="175" y="187"/>
                  <a:pt x="175" y="187"/>
                  <a:pt x="175" y="187"/>
                </a:cubicBezTo>
                <a:cubicBezTo>
                  <a:pt x="175" y="194"/>
                  <a:pt x="169" y="200"/>
                  <a:pt x="162" y="200"/>
                </a:cubicBezTo>
                <a:cubicBezTo>
                  <a:pt x="12" y="200"/>
                  <a:pt x="12" y="200"/>
                  <a:pt x="12" y="200"/>
                </a:cubicBezTo>
                <a:cubicBezTo>
                  <a:pt x="5" y="200"/>
                  <a:pt x="0" y="194"/>
                  <a:pt x="0" y="187"/>
                </a:cubicBezTo>
                <a:lnTo>
                  <a:pt x="0" y="81"/>
                </a:lnTo>
                <a:close/>
                <a:moveTo>
                  <a:pt x="125" y="175"/>
                </a:moveTo>
                <a:cubicBezTo>
                  <a:pt x="150" y="175"/>
                  <a:pt x="150" y="175"/>
                  <a:pt x="150" y="175"/>
                </a:cubicBezTo>
                <a:cubicBezTo>
                  <a:pt x="150" y="150"/>
                  <a:pt x="150" y="150"/>
                  <a:pt x="150" y="150"/>
                </a:cubicBezTo>
                <a:cubicBezTo>
                  <a:pt x="125" y="150"/>
                  <a:pt x="125" y="150"/>
                  <a:pt x="125" y="150"/>
                </a:cubicBezTo>
                <a:lnTo>
                  <a:pt x="125" y="175"/>
                </a:ln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87" name="Freeform 31">
            <a:extLst>
              <a:ext uri="{FF2B5EF4-FFF2-40B4-BE49-F238E27FC236}">
                <a16:creationId xmlns:a16="http://schemas.microsoft.com/office/drawing/2014/main" id="{0E9B0F24-C81C-3349-43E9-7921AAA6220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03807" y="3608944"/>
            <a:ext cx="328539" cy="246133"/>
          </a:xfrm>
          <a:custGeom>
            <a:avLst/>
            <a:gdLst>
              <a:gd name="T0" fmla="*/ 73 w 200"/>
              <a:gd name="T1" fmla="*/ 100 h 150"/>
              <a:gd name="T2" fmla="*/ 38 w 200"/>
              <a:gd name="T3" fmla="*/ 75 h 150"/>
              <a:gd name="T4" fmla="*/ 0 w 200"/>
              <a:gd name="T5" fmla="*/ 112 h 150"/>
              <a:gd name="T6" fmla="*/ 38 w 200"/>
              <a:gd name="T7" fmla="*/ 150 h 150"/>
              <a:gd name="T8" fmla="*/ 73 w 200"/>
              <a:gd name="T9" fmla="*/ 125 h 150"/>
              <a:gd name="T10" fmla="*/ 200 w 200"/>
              <a:gd name="T11" fmla="*/ 125 h 150"/>
              <a:gd name="T12" fmla="*/ 200 w 200"/>
              <a:gd name="T13" fmla="*/ 100 h 150"/>
              <a:gd name="T14" fmla="*/ 73 w 200"/>
              <a:gd name="T15" fmla="*/ 100 h 150"/>
              <a:gd name="T16" fmla="*/ 38 w 200"/>
              <a:gd name="T17" fmla="*/ 125 h 150"/>
              <a:gd name="T18" fmla="*/ 25 w 200"/>
              <a:gd name="T19" fmla="*/ 112 h 150"/>
              <a:gd name="T20" fmla="*/ 38 w 200"/>
              <a:gd name="T21" fmla="*/ 100 h 150"/>
              <a:gd name="T22" fmla="*/ 50 w 200"/>
              <a:gd name="T23" fmla="*/ 112 h 150"/>
              <a:gd name="T24" fmla="*/ 38 w 200"/>
              <a:gd name="T25" fmla="*/ 125 h 150"/>
              <a:gd name="T26" fmla="*/ 162 w 200"/>
              <a:gd name="T27" fmla="*/ 75 h 150"/>
              <a:gd name="T28" fmla="*/ 200 w 200"/>
              <a:gd name="T29" fmla="*/ 38 h 150"/>
              <a:gd name="T30" fmla="*/ 162 w 200"/>
              <a:gd name="T31" fmla="*/ 0 h 150"/>
              <a:gd name="T32" fmla="*/ 127 w 200"/>
              <a:gd name="T33" fmla="*/ 25 h 150"/>
              <a:gd name="T34" fmla="*/ 0 w 200"/>
              <a:gd name="T35" fmla="*/ 25 h 150"/>
              <a:gd name="T36" fmla="*/ 0 w 200"/>
              <a:gd name="T37" fmla="*/ 50 h 150"/>
              <a:gd name="T38" fmla="*/ 127 w 200"/>
              <a:gd name="T39" fmla="*/ 50 h 150"/>
              <a:gd name="T40" fmla="*/ 162 w 200"/>
              <a:gd name="T41" fmla="*/ 75 h 150"/>
              <a:gd name="T42" fmla="*/ 162 w 200"/>
              <a:gd name="T43" fmla="*/ 25 h 150"/>
              <a:gd name="T44" fmla="*/ 175 w 200"/>
              <a:gd name="T45" fmla="*/ 38 h 150"/>
              <a:gd name="T46" fmla="*/ 162 w 200"/>
              <a:gd name="T47" fmla="*/ 50 h 150"/>
              <a:gd name="T48" fmla="*/ 150 w 200"/>
              <a:gd name="T49" fmla="*/ 38 h 150"/>
              <a:gd name="T50" fmla="*/ 162 w 200"/>
              <a:gd name="T51" fmla="*/ 25 h 1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00" h="150">
                <a:moveTo>
                  <a:pt x="73" y="100"/>
                </a:moveTo>
                <a:cubicBezTo>
                  <a:pt x="68" y="85"/>
                  <a:pt x="54" y="75"/>
                  <a:pt x="38" y="75"/>
                </a:cubicBezTo>
                <a:cubicBezTo>
                  <a:pt x="17" y="75"/>
                  <a:pt x="0" y="92"/>
                  <a:pt x="0" y="112"/>
                </a:cubicBezTo>
                <a:cubicBezTo>
                  <a:pt x="0" y="133"/>
                  <a:pt x="17" y="150"/>
                  <a:pt x="38" y="150"/>
                </a:cubicBezTo>
                <a:cubicBezTo>
                  <a:pt x="54" y="150"/>
                  <a:pt x="68" y="140"/>
                  <a:pt x="73" y="125"/>
                </a:cubicBezTo>
                <a:cubicBezTo>
                  <a:pt x="200" y="125"/>
                  <a:pt x="200" y="125"/>
                  <a:pt x="200" y="125"/>
                </a:cubicBezTo>
                <a:cubicBezTo>
                  <a:pt x="200" y="100"/>
                  <a:pt x="200" y="100"/>
                  <a:pt x="200" y="100"/>
                </a:cubicBezTo>
                <a:lnTo>
                  <a:pt x="73" y="100"/>
                </a:lnTo>
                <a:close/>
                <a:moveTo>
                  <a:pt x="38" y="125"/>
                </a:moveTo>
                <a:cubicBezTo>
                  <a:pt x="31" y="125"/>
                  <a:pt x="25" y="119"/>
                  <a:pt x="25" y="112"/>
                </a:cubicBezTo>
                <a:cubicBezTo>
                  <a:pt x="25" y="106"/>
                  <a:pt x="31" y="100"/>
                  <a:pt x="38" y="100"/>
                </a:cubicBezTo>
                <a:cubicBezTo>
                  <a:pt x="45" y="100"/>
                  <a:pt x="50" y="106"/>
                  <a:pt x="50" y="112"/>
                </a:cubicBezTo>
                <a:cubicBezTo>
                  <a:pt x="50" y="119"/>
                  <a:pt x="45" y="125"/>
                  <a:pt x="38" y="125"/>
                </a:cubicBezTo>
                <a:close/>
                <a:moveTo>
                  <a:pt x="162" y="75"/>
                </a:moveTo>
                <a:cubicBezTo>
                  <a:pt x="183" y="75"/>
                  <a:pt x="200" y="59"/>
                  <a:pt x="200" y="38"/>
                </a:cubicBezTo>
                <a:cubicBezTo>
                  <a:pt x="200" y="17"/>
                  <a:pt x="183" y="0"/>
                  <a:pt x="162" y="0"/>
                </a:cubicBezTo>
                <a:cubicBezTo>
                  <a:pt x="146" y="0"/>
                  <a:pt x="132" y="11"/>
                  <a:pt x="127" y="25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50"/>
                  <a:pt x="0" y="50"/>
                  <a:pt x="0" y="50"/>
                </a:cubicBezTo>
                <a:cubicBezTo>
                  <a:pt x="127" y="50"/>
                  <a:pt x="127" y="50"/>
                  <a:pt x="127" y="50"/>
                </a:cubicBezTo>
                <a:cubicBezTo>
                  <a:pt x="132" y="65"/>
                  <a:pt x="146" y="75"/>
                  <a:pt x="162" y="75"/>
                </a:cubicBezTo>
                <a:close/>
                <a:moveTo>
                  <a:pt x="162" y="25"/>
                </a:moveTo>
                <a:cubicBezTo>
                  <a:pt x="169" y="25"/>
                  <a:pt x="175" y="31"/>
                  <a:pt x="175" y="38"/>
                </a:cubicBezTo>
                <a:cubicBezTo>
                  <a:pt x="175" y="45"/>
                  <a:pt x="169" y="50"/>
                  <a:pt x="162" y="50"/>
                </a:cubicBezTo>
                <a:cubicBezTo>
                  <a:pt x="155" y="50"/>
                  <a:pt x="150" y="45"/>
                  <a:pt x="150" y="38"/>
                </a:cubicBezTo>
                <a:cubicBezTo>
                  <a:pt x="150" y="31"/>
                  <a:pt x="155" y="25"/>
                  <a:pt x="162" y="25"/>
                </a:cubicBezTo>
                <a:close/>
              </a:path>
            </a:pathLst>
          </a:custGeom>
          <a:solidFill>
            <a:schemeClr val="accent3">
              <a:lumMod val="75000"/>
            </a:schemeClr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8B4D74CA-4F63-39C5-33AD-1CB47E14F203}"/>
              </a:ext>
            </a:extLst>
          </p:cNvPr>
          <p:cNvGrpSpPr/>
          <p:nvPr/>
        </p:nvGrpSpPr>
        <p:grpSpPr>
          <a:xfrm>
            <a:off x="9603971" y="3013851"/>
            <a:ext cx="2352725" cy="469128"/>
            <a:chOff x="9475037" y="2548093"/>
            <a:chExt cx="2352725" cy="469128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A0252CC2-B83A-9752-4647-3A6CD37EFAE2}"/>
                </a:ext>
              </a:extLst>
            </p:cNvPr>
            <p:cNvSpPr/>
            <p:nvPr/>
          </p:nvSpPr>
          <p:spPr>
            <a:xfrm>
              <a:off x="11335175" y="2548093"/>
              <a:ext cx="492587" cy="469128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28FDC60-93D1-E0AC-1116-5361B66D5D77}"/>
                </a:ext>
              </a:extLst>
            </p:cNvPr>
            <p:cNvSpPr/>
            <p:nvPr/>
          </p:nvSpPr>
          <p:spPr>
            <a:xfrm>
              <a:off x="9475037" y="2622446"/>
              <a:ext cx="2211307" cy="32042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200" b="1"/>
                <a:t>Knowledge sessions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1A2B7695-B3DB-CEA3-042D-2D8FC8211AF0}"/>
              </a:ext>
            </a:extLst>
          </p:cNvPr>
          <p:cNvGrpSpPr/>
          <p:nvPr/>
        </p:nvGrpSpPr>
        <p:grpSpPr>
          <a:xfrm>
            <a:off x="9603971" y="3718219"/>
            <a:ext cx="2352725" cy="469128"/>
            <a:chOff x="9475037" y="2548093"/>
            <a:chExt cx="2352725" cy="469128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50A0F61D-D1C6-9E65-D0F9-2D63EB3EE064}"/>
                </a:ext>
              </a:extLst>
            </p:cNvPr>
            <p:cNvSpPr/>
            <p:nvPr/>
          </p:nvSpPr>
          <p:spPr>
            <a:xfrm>
              <a:off x="11335175" y="2548093"/>
              <a:ext cx="492587" cy="469128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CCCD70A4-5397-9DE7-F209-B3E4E035EA3A}"/>
                </a:ext>
              </a:extLst>
            </p:cNvPr>
            <p:cNvSpPr/>
            <p:nvPr/>
          </p:nvSpPr>
          <p:spPr>
            <a:xfrm>
              <a:off x="9475037" y="2622446"/>
              <a:ext cx="2211307" cy="32042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200" b="1"/>
                <a:t>Networking sessions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05DCE005-6876-1DFD-B077-F62B66F1CEDC}"/>
              </a:ext>
            </a:extLst>
          </p:cNvPr>
          <p:cNvGrpSpPr/>
          <p:nvPr/>
        </p:nvGrpSpPr>
        <p:grpSpPr>
          <a:xfrm>
            <a:off x="9603971" y="4422587"/>
            <a:ext cx="2352725" cy="469128"/>
            <a:chOff x="9475037" y="2548093"/>
            <a:chExt cx="2352725" cy="469128"/>
          </a:xfrm>
        </p:grpSpPr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337660D3-B355-79CB-E227-6D1CDA6897C2}"/>
                </a:ext>
              </a:extLst>
            </p:cNvPr>
            <p:cNvSpPr/>
            <p:nvPr/>
          </p:nvSpPr>
          <p:spPr>
            <a:xfrm>
              <a:off x="11335175" y="2548093"/>
              <a:ext cx="492587" cy="469128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4C83CDE9-03EA-9CDE-1824-04ECE40443AD}"/>
                </a:ext>
              </a:extLst>
            </p:cNvPr>
            <p:cNvSpPr/>
            <p:nvPr/>
          </p:nvSpPr>
          <p:spPr>
            <a:xfrm>
              <a:off x="9475037" y="2622446"/>
              <a:ext cx="2211308" cy="32042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200" b="1"/>
                <a:t>Government initiatives</a:t>
              </a: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35E17EF8-79CA-D963-E050-1AA1B5610895}"/>
              </a:ext>
            </a:extLst>
          </p:cNvPr>
          <p:cNvGrpSpPr/>
          <p:nvPr/>
        </p:nvGrpSpPr>
        <p:grpSpPr>
          <a:xfrm>
            <a:off x="9603971" y="5126954"/>
            <a:ext cx="2352725" cy="469128"/>
            <a:chOff x="9475037" y="2548093"/>
            <a:chExt cx="2352725" cy="469128"/>
          </a:xfrm>
        </p:grpSpPr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AB4220C7-6AFE-8F87-09F5-92E770529573}"/>
                </a:ext>
              </a:extLst>
            </p:cNvPr>
            <p:cNvSpPr/>
            <p:nvPr/>
          </p:nvSpPr>
          <p:spPr>
            <a:xfrm>
              <a:off x="11335175" y="2548093"/>
              <a:ext cx="492587" cy="469128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FC8CC0D3-8F3B-4433-0A99-5D9726BB004B}"/>
                </a:ext>
              </a:extLst>
            </p:cNvPr>
            <p:cNvSpPr/>
            <p:nvPr/>
          </p:nvSpPr>
          <p:spPr>
            <a:xfrm>
              <a:off x="9475037" y="2622446"/>
              <a:ext cx="2211308" cy="320420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>
                <a:lnSpc>
                  <a:spcPct val="100000"/>
                </a:lnSpc>
              </a:pPr>
              <a:r>
                <a:rPr lang="en-US" sz="1200" b="1"/>
                <a:t>Dialogue &amp; conclave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F09094B-B4B8-61B2-204B-217A0050E8C3}"/>
              </a:ext>
            </a:extLst>
          </p:cNvPr>
          <p:cNvGrpSpPr/>
          <p:nvPr/>
        </p:nvGrpSpPr>
        <p:grpSpPr>
          <a:xfrm>
            <a:off x="5890461" y="5880705"/>
            <a:ext cx="3415273" cy="428812"/>
            <a:chOff x="6283312" y="2803184"/>
            <a:chExt cx="2149699" cy="624017"/>
          </a:xfrm>
          <a:solidFill>
            <a:schemeClr val="accent5">
              <a:lumMod val="20000"/>
              <a:lumOff val="80000"/>
            </a:schemeClr>
          </a:solidFill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3FF96A8-4BEE-99BA-DD3F-C50593EFD0E0}"/>
                </a:ext>
              </a:extLst>
            </p:cNvPr>
            <p:cNvSpPr/>
            <p:nvPr/>
          </p:nvSpPr>
          <p:spPr>
            <a:xfrm>
              <a:off x="8253291" y="2803184"/>
              <a:ext cx="179720" cy="624017"/>
            </a:xfrm>
            <a:prstGeom prst="rect">
              <a:avLst/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endParaRPr lang="en-US" sz="1400" b="1">
                <a:solidFill>
                  <a:schemeClr val="tx1"/>
                </a:solidFill>
              </a:endParaRPr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C4102E96-185A-50E9-C971-B6DD4B101CF0}"/>
                </a:ext>
              </a:extLst>
            </p:cNvPr>
            <p:cNvSpPr/>
            <p:nvPr/>
          </p:nvSpPr>
          <p:spPr>
            <a:xfrm>
              <a:off x="6283312" y="2803185"/>
              <a:ext cx="2143067" cy="62401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lnSpc>
                  <a:spcPct val="100000"/>
                </a:lnSpc>
              </a:pPr>
              <a:r>
                <a:rPr lang="en-US" sz="1400" b="1">
                  <a:solidFill>
                    <a:schemeClr val="tx1"/>
                  </a:solidFill>
                </a:rPr>
                <a:t>Urban Mobility</a:t>
              </a:r>
            </a:p>
          </p:txBody>
        </p:sp>
      </p:grpSp>
      <p:pic>
        <p:nvPicPr>
          <p:cNvPr id="2" name="Picture 1" descr="A close up of text&#10;&#10;Description automatically generated">
            <a:extLst>
              <a:ext uri="{FF2B5EF4-FFF2-40B4-BE49-F238E27FC236}">
                <a16:creationId xmlns:a16="http://schemas.microsoft.com/office/drawing/2014/main" id="{869023CD-C8F6-AB0D-A816-903D36BF788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20" b="14012"/>
          <a:stretch/>
        </p:blipFill>
        <p:spPr>
          <a:xfrm>
            <a:off x="10657032" y="241529"/>
            <a:ext cx="1290888" cy="671727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73A6E466-9D54-16E0-B656-40857127A494}"/>
              </a:ext>
            </a:extLst>
          </p:cNvPr>
          <p:cNvGrpSpPr/>
          <p:nvPr/>
        </p:nvGrpSpPr>
        <p:grpSpPr>
          <a:xfrm>
            <a:off x="-2894" y="0"/>
            <a:ext cx="5299379" cy="6859688"/>
            <a:chOff x="-2894" y="0"/>
            <a:chExt cx="5299379" cy="6859688"/>
          </a:xfrm>
        </p:grpSpPr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FE4B8BC5-54BC-B78B-816E-61CCE03A50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462"/>
            <a:stretch/>
          </p:blipFill>
          <p:spPr>
            <a:xfrm>
              <a:off x="0" y="0"/>
              <a:ext cx="5292676" cy="6854824"/>
            </a:xfrm>
            <a:prstGeom prst="rect">
              <a:avLst/>
            </a:prstGeom>
          </p:spPr>
        </p:pic>
        <p:pic>
          <p:nvPicPr>
            <p:cNvPr id="20" name="Picture 19" descr="A white car with blue lights&#10;&#10;Description automatically generated">
              <a:extLst>
                <a:ext uri="{FF2B5EF4-FFF2-40B4-BE49-F238E27FC236}">
                  <a16:creationId xmlns:a16="http://schemas.microsoft.com/office/drawing/2014/main" id="{AE4C7304-8B4F-4834-43E6-C07312769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6353"/>
              <a:ext cx="2639255" cy="1638329"/>
            </a:xfrm>
            <a:prstGeom prst="rect">
              <a:avLst/>
            </a:prstGeom>
          </p:spPr>
        </p:pic>
        <p:pic>
          <p:nvPicPr>
            <p:cNvPr id="33" name="Picture 32" descr="A finger touching a button on a server&#10;&#10;Description automatically generated">
              <a:extLst>
                <a:ext uri="{FF2B5EF4-FFF2-40B4-BE49-F238E27FC236}">
                  <a16:creationId xmlns:a16="http://schemas.microsoft.com/office/drawing/2014/main" id="{EAA4A20C-37CB-D332-B6AB-C6C2223209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639255" y="5171248"/>
              <a:ext cx="2628780" cy="1638329"/>
            </a:xfrm>
            <a:prstGeom prst="rect">
              <a:avLst/>
            </a:prstGeom>
          </p:spPr>
        </p:pic>
        <p:pic>
          <p:nvPicPr>
            <p:cNvPr id="3074" name="Picture 2" descr="Image preview">
              <a:extLst>
                <a:ext uri="{FF2B5EF4-FFF2-40B4-BE49-F238E27FC236}">
                  <a16:creationId xmlns:a16="http://schemas.microsoft.com/office/drawing/2014/main" id="{DE0379D5-156C-D959-6B5F-A2C3E49CF91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339" b="-7973"/>
            <a:stretch/>
          </p:blipFill>
          <p:spPr bwMode="auto">
            <a:xfrm>
              <a:off x="2643064" y="0"/>
              <a:ext cx="2653421" cy="17689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76" name="Picture 4">
              <a:extLst>
                <a:ext uri="{FF2B5EF4-FFF2-40B4-BE49-F238E27FC236}">
                  <a16:creationId xmlns:a16="http://schemas.microsoft.com/office/drawing/2014/main" id="{09313093-8FB9-A98F-59DB-F59B35431B0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43235" y="1632252"/>
              <a:ext cx="2644860" cy="17677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 descr="A person riding a bicycle&#10;&#10;Description automatically generated">
              <a:extLst>
                <a:ext uri="{FF2B5EF4-FFF2-40B4-BE49-F238E27FC236}">
                  <a16:creationId xmlns:a16="http://schemas.microsoft.com/office/drawing/2014/main" id="{54EF49A1-3AD6-A08D-7D16-44CD6C114BA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5196303"/>
              <a:ext cx="2650525" cy="166338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6AE8147-6C92-0E7A-1E87-FF011ECE5B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rot="16200000">
              <a:off x="446145" y="1195641"/>
              <a:ext cx="1755341" cy="2653419"/>
            </a:xfrm>
            <a:prstGeom prst="rect">
              <a:avLst/>
            </a:prstGeom>
          </p:spPr>
        </p:pic>
      </p:grpSp>
      <p:sp>
        <p:nvSpPr>
          <p:cNvPr id="36" name="Freeform 104">
            <a:extLst>
              <a:ext uri="{FF2B5EF4-FFF2-40B4-BE49-F238E27FC236}">
                <a16:creationId xmlns:a16="http://schemas.microsoft.com/office/drawing/2014/main" id="{098723CC-5550-F6D1-50D6-8EDB2C21F7C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503484" y="5947902"/>
            <a:ext cx="329184" cy="294419"/>
          </a:xfrm>
          <a:custGeom>
            <a:avLst/>
            <a:gdLst>
              <a:gd name="T0" fmla="*/ 118 w 303"/>
              <a:gd name="T1" fmla="*/ 0 h 271"/>
              <a:gd name="T2" fmla="*/ 3 w 303"/>
              <a:gd name="T3" fmla="*/ 114 h 271"/>
              <a:gd name="T4" fmla="*/ 303 w 303"/>
              <a:gd name="T5" fmla="*/ 114 h 271"/>
              <a:gd name="T6" fmla="*/ 303 w 303"/>
              <a:gd name="T7" fmla="*/ 76 h 271"/>
              <a:gd name="T8" fmla="*/ 94 w 303"/>
              <a:gd name="T9" fmla="*/ 76 h 271"/>
              <a:gd name="T10" fmla="*/ 144 w 303"/>
              <a:gd name="T11" fmla="*/ 26 h 271"/>
              <a:gd name="T12" fmla="*/ 118 w 303"/>
              <a:gd name="T13" fmla="*/ 0 h 271"/>
              <a:gd name="T14" fmla="*/ 0 w 303"/>
              <a:gd name="T15" fmla="*/ 158 h 271"/>
              <a:gd name="T16" fmla="*/ 0 w 303"/>
              <a:gd name="T17" fmla="*/ 196 h 271"/>
              <a:gd name="T18" fmla="*/ 208 w 303"/>
              <a:gd name="T19" fmla="*/ 196 h 271"/>
              <a:gd name="T20" fmla="*/ 158 w 303"/>
              <a:gd name="T21" fmla="*/ 246 h 271"/>
              <a:gd name="T22" fmla="*/ 183 w 303"/>
              <a:gd name="T23" fmla="*/ 271 h 271"/>
              <a:gd name="T24" fmla="*/ 299 w 303"/>
              <a:gd name="T25" fmla="*/ 158 h 271"/>
              <a:gd name="T26" fmla="*/ 0 w 303"/>
              <a:gd name="T27" fmla="*/ 158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03" h="271">
                <a:moveTo>
                  <a:pt x="118" y="0"/>
                </a:moveTo>
                <a:lnTo>
                  <a:pt x="3" y="114"/>
                </a:lnTo>
                <a:lnTo>
                  <a:pt x="303" y="114"/>
                </a:lnTo>
                <a:lnTo>
                  <a:pt x="303" y="76"/>
                </a:lnTo>
                <a:lnTo>
                  <a:pt x="94" y="76"/>
                </a:lnTo>
                <a:lnTo>
                  <a:pt x="144" y="26"/>
                </a:lnTo>
                <a:lnTo>
                  <a:pt x="118" y="0"/>
                </a:lnTo>
                <a:close/>
                <a:moveTo>
                  <a:pt x="0" y="158"/>
                </a:moveTo>
                <a:lnTo>
                  <a:pt x="0" y="196"/>
                </a:lnTo>
                <a:lnTo>
                  <a:pt x="208" y="196"/>
                </a:lnTo>
                <a:lnTo>
                  <a:pt x="158" y="246"/>
                </a:lnTo>
                <a:lnTo>
                  <a:pt x="183" y="271"/>
                </a:lnTo>
                <a:lnTo>
                  <a:pt x="299" y="158"/>
                </a:lnTo>
                <a:lnTo>
                  <a:pt x="0" y="158"/>
                </a:lnTo>
                <a:close/>
              </a:path>
            </a:pathLst>
          </a:custGeom>
          <a:solidFill>
            <a:srgbClr val="A8241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B2F7A14-854C-2A85-5954-2594C8F23657}"/>
              </a:ext>
            </a:extLst>
          </p:cNvPr>
          <p:cNvSpPr/>
          <p:nvPr/>
        </p:nvSpPr>
        <p:spPr>
          <a:xfrm>
            <a:off x="5333700" y="206101"/>
            <a:ext cx="6101182" cy="1204809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chemeClr val="accent5"/>
                </a:solidFill>
              </a:rPr>
              <a:t>Conferences 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D65B77EE-5C2B-8D5E-09D0-1F8CAF7FA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12</a:t>
            </a:fld>
            <a:endParaRPr lang="en-US" sz="100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7250536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 up of text&#10;&#10;Description automatically generated">
            <a:extLst>
              <a:ext uri="{FF2B5EF4-FFF2-40B4-BE49-F238E27FC236}">
                <a16:creationId xmlns:a16="http://schemas.microsoft.com/office/drawing/2014/main" id="{5AE36557-ECD2-B9F4-929A-0EF0EF7349C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20" b="14012"/>
          <a:stretch/>
        </p:blipFill>
        <p:spPr>
          <a:xfrm>
            <a:off x="12410136" y="2972070"/>
            <a:ext cx="128680" cy="66960"/>
          </a:xfrm>
          <a:prstGeom prst="rect">
            <a:avLst/>
          </a:prstGeom>
        </p:spPr>
      </p:pic>
      <p:pic>
        <p:nvPicPr>
          <p:cNvPr id="2050" name="Picture 2" descr="Image preview">
            <a:extLst>
              <a:ext uri="{FF2B5EF4-FFF2-40B4-BE49-F238E27FC236}">
                <a16:creationId xmlns:a16="http://schemas.microsoft.com/office/drawing/2014/main" id="{3B74321D-DD2C-7307-BCF3-48B099BE61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86987" y="4621280"/>
            <a:ext cx="1025439" cy="6836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7E24B490-0FFE-B3D1-1242-A93CB8E50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1" imgH="423" progId="TCLayout.ActiveDocument.1">
                  <p:embed/>
                </p:oleObj>
              </mc:Choice>
              <mc:Fallback>
                <p:oleObj name="think-cell Slide" r:id="rId6" imgW="421" imgH="423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4B490-0FFE-B3D1-1242-A93CB8E50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0" name="Picture 1099" descr="A finger touching a button on a server&#10;&#10;Description automatically generated">
            <a:extLst>
              <a:ext uri="{FF2B5EF4-FFF2-40B4-BE49-F238E27FC236}">
                <a16:creationId xmlns:a16="http://schemas.microsoft.com/office/drawing/2014/main" id="{46C3BCE5-EE57-E06B-B8DA-42294182DB3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5126" y="2991005"/>
            <a:ext cx="1016170" cy="633305"/>
          </a:xfrm>
          <a:prstGeom prst="rect">
            <a:avLst/>
          </a:prstGeom>
        </p:spPr>
      </p:pic>
      <p:pic>
        <p:nvPicPr>
          <p:cNvPr id="1099" name="Picture 1098" descr="A white car with blue lights&#10;&#10;Description automatically generated">
            <a:extLst>
              <a:ext uri="{FF2B5EF4-FFF2-40B4-BE49-F238E27FC236}">
                <a16:creationId xmlns:a16="http://schemas.microsoft.com/office/drawing/2014/main" id="{F0790DBF-6B81-AC4D-E4DB-4B5D96B0A2A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32379" y="4659323"/>
            <a:ext cx="1025439" cy="636546"/>
          </a:xfrm>
          <a:prstGeom prst="rect">
            <a:avLst/>
          </a:prstGeom>
        </p:spPr>
      </p:pic>
      <p:cxnSp>
        <p:nvCxnSpPr>
          <p:cNvPr id="1044" name="Straight Connector 1043">
            <a:extLst>
              <a:ext uri="{FF2B5EF4-FFF2-40B4-BE49-F238E27FC236}">
                <a16:creationId xmlns:a16="http://schemas.microsoft.com/office/drawing/2014/main" id="{BCE6B9A2-E3F7-0341-42E3-D9F5A5EED1D7}"/>
              </a:ext>
            </a:extLst>
          </p:cNvPr>
          <p:cNvCxnSpPr/>
          <p:nvPr/>
        </p:nvCxnSpPr>
        <p:spPr>
          <a:xfrm>
            <a:off x="551428" y="6215348"/>
            <a:ext cx="10693663" cy="0"/>
          </a:xfrm>
          <a:prstGeom prst="line">
            <a:avLst/>
          </a:prstGeom>
          <a:ln w="12700" cap="sq"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035" name="Straight Connector 1034">
            <a:extLst>
              <a:ext uri="{FF2B5EF4-FFF2-40B4-BE49-F238E27FC236}">
                <a16:creationId xmlns:a16="http://schemas.microsoft.com/office/drawing/2014/main" id="{B37641BA-9512-7D95-A51E-EAEB309C965D}"/>
              </a:ext>
            </a:extLst>
          </p:cNvPr>
          <p:cNvCxnSpPr>
            <a:cxnSpLocks/>
          </p:cNvCxnSpPr>
          <p:nvPr/>
        </p:nvCxnSpPr>
        <p:spPr>
          <a:xfrm>
            <a:off x="1321478" y="5740408"/>
            <a:ext cx="8490572" cy="5486"/>
          </a:xfrm>
          <a:prstGeom prst="line">
            <a:avLst/>
          </a:prstGeom>
          <a:ln w="3175" cap="sq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437C26B-7519-421B-BBF3-B69B64DC7E3B}"/>
              </a:ext>
            </a:extLst>
          </p:cNvPr>
          <p:cNvCxnSpPr>
            <a:cxnSpLocks/>
          </p:cNvCxnSpPr>
          <p:nvPr/>
        </p:nvCxnSpPr>
        <p:spPr>
          <a:xfrm>
            <a:off x="1231116" y="4503986"/>
            <a:ext cx="10013975" cy="0"/>
          </a:xfrm>
          <a:prstGeom prst="line">
            <a:avLst/>
          </a:prstGeom>
          <a:ln w="12700" cap="sq"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3AB4742-D66D-1E86-CF37-307F97897228}"/>
              </a:ext>
            </a:extLst>
          </p:cNvPr>
          <p:cNvCxnSpPr>
            <a:cxnSpLocks/>
          </p:cNvCxnSpPr>
          <p:nvPr/>
        </p:nvCxnSpPr>
        <p:spPr>
          <a:xfrm>
            <a:off x="1310390" y="4084548"/>
            <a:ext cx="9440161" cy="16511"/>
          </a:xfrm>
          <a:prstGeom prst="line">
            <a:avLst/>
          </a:prstGeom>
          <a:ln w="3175" cap="sq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64A7264-DACE-FEB8-B3F8-2C1479C0F46F}"/>
              </a:ext>
            </a:extLst>
          </p:cNvPr>
          <p:cNvCxnSpPr>
            <a:cxnSpLocks/>
          </p:cNvCxnSpPr>
          <p:nvPr/>
        </p:nvCxnSpPr>
        <p:spPr>
          <a:xfrm>
            <a:off x="1231116" y="2883510"/>
            <a:ext cx="10013975" cy="0"/>
          </a:xfrm>
          <a:prstGeom prst="line">
            <a:avLst/>
          </a:prstGeom>
          <a:ln w="12700" cap="sq">
            <a:solidFill>
              <a:schemeClr val="accent1">
                <a:lumMod val="20000"/>
                <a:lumOff val="8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1EED6CE-B9A9-485C-7F9B-9EE333FCB170}"/>
              </a:ext>
            </a:extLst>
          </p:cNvPr>
          <p:cNvCxnSpPr>
            <a:cxnSpLocks/>
          </p:cNvCxnSpPr>
          <p:nvPr/>
        </p:nvCxnSpPr>
        <p:spPr>
          <a:xfrm flipV="1">
            <a:off x="1327908" y="2425317"/>
            <a:ext cx="9422643" cy="16046"/>
          </a:xfrm>
          <a:prstGeom prst="line">
            <a:avLst/>
          </a:prstGeom>
          <a:ln w="3175" cap="sq"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AC78A714-E913-CD15-81E8-C285E8371AA4}"/>
              </a:ext>
            </a:extLst>
          </p:cNvPr>
          <p:cNvSpPr txBox="1"/>
          <p:nvPr/>
        </p:nvSpPr>
        <p:spPr>
          <a:xfrm flipH="1">
            <a:off x="444312" y="230479"/>
            <a:ext cx="10197090" cy="492443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3200" b="1" dirty="0">
                <a:solidFill>
                  <a:schemeClr val="accent5"/>
                </a:solidFill>
              </a:rPr>
              <a:t>13 Conferences across the Automotive Value Chai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4BF8FB-242F-4228-EE79-F5E0674C5321}"/>
              </a:ext>
            </a:extLst>
          </p:cNvPr>
          <p:cNvSpPr txBox="1"/>
          <p:nvPr/>
        </p:nvSpPr>
        <p:spPr>
          <a:xfrm flipH="1">
            <a:off x="502860" y="1510211"/>
            <a:ext cx="61767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2000" b="1" dirty="0"/>
              <a:t>Day </a:t>
            </a:r>
            <a:r>
              <a:rPr lang="en-US" sz="3200" b="1" dirty="0"/>
              <a:t>01</a:t>
            </a:r>
            <a:endParaRPr lang="en-US" sz="2000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04435CE-23C9-DB98-630F-0ACE8DC14BF1}"/>
              </a:ext>
            </a:extLst>
          </p:cNvPr>
          <p:cNvSpPr txBox="1"/>
          <p:nvPr/>
        </p:nvSpPr>
        <p:spPr>
          <a:xfrm flipH="1">
            <a:off x="513896" y="3123406"/>
            <a:ext cx="61767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2000" b="1" dirty="0"/>
              <a:t>Day </a:t>
            </a:r>
            <a:r>
              <a:rPr lang="en-US" sz="3200" b="1" dirty="0"/>
              <a:t>02</a:t>
            </a:r>
            <a:endParaRPr lang="en-US" sz="2000" b="1" dirty="0"/>
          </a:p>
        </p:txBody>
      </p:sp>
      <p:pic>
        <p:nvPicPr>
          <p:cNvPr id="22" name="Picture 21" descr="Car repair">
            <a:extLst>
              <a:ext uri="{FF2B5EF4-FFF2-40B4-BE49-F238E27FC236}">
                <a16:creationId xmlns:a16="http://schemas.microsoft.com/office/drawing/2014/main" id="{F6F42396-59C3-4E96-3075-5BA69EFEA7B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1416" y="4615737"/>
            <a:ext cx="1020448" cy="680132"/>
          </a:xfrm>
          <a:prstGeom prst="rect">
            <a:avLst/>
          </a:prstGeom>
        </p:spPr>
      </p:pic>
      <p:pic>
        <p:nvPicPr>
          <p:cNvPr id="29" name="Picture 28" descr="Green electric car charging symbol on pavement">
            <a:extLst>
              <a:ext uri="{FF2B5EF4-FFF2-40B4-BE49-F238E27FC236}">
                <a16:creationId xmlns:a16="http://schemas.microsoft.com/office/drawing/2014/main" id="{7EB7905E-BAED-5DC4-D08A-DA7E1BB72D0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0932" y="1087010"/>
            <a:ext cx="1020597" cy="680132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BAD553C6-1923-6E4D-A151-D78ACFF09BED}"/>
              </a:ext>
            </a:extLst>
          </p:cNvPr>
          <p:cNvSpPr txBox="1"/>
          <p:nvPr/>
        </p:nvSpPr>
        <p:spPr>
          <a:xfrm>
            <a:off x="1602703" y="5315531"/>
            <a:ext cx="346104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kern="1200"/>
              <a:t>2</a:t>
            </a:r>
            <a:r>
              <a:rPr lang="en-US" sz="1200" b="1" kern="1200" baseline="30000"/>
              <a:t>nd</a:t>
            </a:r>
            <a:r>
              <a:rPr lang="en-US" sz="1200" b="1" kern="1200"/>
              <a:t> edition of International Conference on Sustainable Circularity**</a:t>
            </a:r>
            <a:endParaRPr lang="en-US" sz="120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C4B499B-7D95-DCD7-EB2F-80B1A614C4B4}"/>
              </a:ext>
            </a:extLst>
          </p:cNvPr>
          <p:cNvSpPr txBox="1"/>
          <p:nvPr/>
        </p:nvSpPr>
        <p:spPr>
          <a:xfrm>
            <a:off x="4922329" y="5315531"/>
            <a:ext cx="2914251" cy="31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kern="1200"/>
              <a:t>Workshop on </a:t>
            </a:r>
            <a:r>
              <a:rPr lang="en-US" sz="1200" b="1" i="0" kern="1200" err="1"/>
              <a:t>Tyre</a:t>
            </a:r>
            <a:r>
              <a:rPr lang="en-US" sz="1200" b="1" i="0" kern="1200"/>
              <a:t> Care &amp; Safety</a:t>
            </a:r>
            <a:endParaRPr lang="en-US" sz="1200"/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77EF867-B322-67AE-5C0F-F65479646AAB}"/>
              </a:ext>
            </a:extLst>
          </p:cNvPr>
          <p:cNvSpPr txBox="1"/>
          <p:nvPr/>
        </p:nvSpPr>
        <p:spPr>
          <a:xfrm>
            <a:off x="7623399" y="5317119"/>
            <a:ext cx="42667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kern="1200"/>
              <a:t>EV Infra (Charging &amp; Swapping) Leadership summit </a:t>
            </a:r>
            <a:endParaRPr lang="en-US" sz="1200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7D054DD-5F4A-C2E5-65B8-13D7756DA5EB}"/>
              </a:ext>
            </a:extLst>
          </p:cNvPr>
          <p:cNvSpPr txBox="1"/>
          <p:nvPr/>
        </p:nvSpPr>
        <p:spPr>
          <a:xfrm>
            <a:off x="9975994" y="1736122"/>
            <a:ext cx="1990473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EV: Driving the Auto Industry</a:t>
            </a:r>
            <a:endParaRPr lang="en-US" sz="1200"/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0B751D0-6E2E-05CE-03F7-D989B7DEB589}"/>
              </a:ext>
            </a:extLst>
          </p:cNvPr>
          <p:cNvSpPr txBox="1"/>
          <p:nvPr/>
        </p:nvSpPr>
        <p:spPr>
          <a:xfrm>
            <a:off x="7812355" y="1736122"/>
            <a:ext cx="2189520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sz="1200" b="1"/>
              <a:t>Dialogue between ATMA/ITTAC &amp; Global </a:t>
            </a:r>
            <a:r>
              <a:rPr lang="en-US" sz="1200" b="1" err="1"/>
              <a:t>Tyre</a:t>
            </a:r>
            <a:r>
              <a:rPr lang="en-US" sz="1200" b="1"/>
              <a:t> Industry Associations</a:t>
            </a:r>
            <a:endParaRPr lang="en-US" sz="1200"/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B105ED99-9D7D-F7BE-A991-85BF9EEEB241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4874" y="1087010"/>
            <a:ext cx="1020411" cy="680132"/>
          </a:xfrm>
          <a:prstGeom prst="rect">
            <a:avLst/>
          </a:prstGeom>
        </p:spPr>
      </p:pic>
      <p:sp>
        <p:nvSpPr>
          <p:cNvPr id="45" name="TextBox 44">
            <a:extLst>
              <a:ext uri="{FF2B5EF4-FFF2-40B4-BE49-F238E27FC236}">
                <a16:creationId xmlns:a16="http://schemas.microsoft.com/office/drawing/2014/main" id="{5380F0AE-405C-7DF5-EBB8-482FAF685C8B}"/>
              </a:ext>
            </a:extLst>
          </p:cNvPr>
          <p:cNvSpPr txBox="1"/>
          <p:nvPr/>
        </p:nvSpPr>
        <p:spPr>
          <a:xfrm>
            <a:off x="5691409" y="1736122"/>
            <a:ext cx="218734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Co-creating tech</a:t>
            </a:r>
            <a:r>
              <a:rPr lang="en-US" sz="1200" b="1" i="0" kern="1200"/>
              <a:t> capabilities from India for Software Defined Vehicles</a:t>
            </a:r>
            <a:endParaRPr lang="en-US" sz="120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1D2EF641-65E0-D744-B7C8-31C76ACC2676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85872" y="1087010"/>
            <a:ext cx="1020600" cy="680132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43E3159B-6565-93B7-3B56-2726322A6947}"/>
              </a:ext>
            </a:extLst>
          </p:cNvPr>
          <p:cNvSpPr txBox="1"/>
          <p:nvPr/>
        </p:nvSpPr>
        <p:spPr>
          <a:xfrm>
            <a:off x="4016412" y="1736122"/>
            <a:ext cx="1359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kern="1200"/>
              <a:t>2</a:t>
            </a:r>
            <a:r>
              <a:rPr lang="en-US" sz="1200" b="1" i="0" kern="1200" baseline="30000"/>
              <a:t>nd</a:t>
            </a:r>
            <a:r>
              <a:rPr lang="en-US" sz="1200" b="1" i="0" kern="1200"/>
              <a:t>  Annual EV Battery Safety Forum</a:t>
            </a:r>
            <a:endParaRPr lang="en-US" sz="1200"/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B4ED4611-2ACD-6CD3-5294-7C725B50B66B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5891" y="1087010"/>
            <a:ext cx="1020596" cy="680132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98F7AB26-C510-9C56-D4B5-8FADB7AB11B0}"/>
              </a:ext>
            </a:extLst>
          </p:cNvPr>
          <p:cNvSpPr txBox="1"/>
          <p:nvPr/>
        </p:nvSpPr>
        <p:spPr>
          <a:xfrm>
            <a:off x="1274524" y="1762445"/>
            <a:ext cx="269740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tabLst>
                <a:tab pos="341313" algn="l"/>
              </a:tabLst>
            </a:pPr>
            <a:r>
              <a:rPr lang="en-US" sz="1200" b="1" i="0" kern="1200"/>
              <a:t>2</a:t>
            </a:r>
            <a:r>
              <a:rPr lang="en-US" sz="1200" b="1" i="0" kern="1200" baseline="30000"/>
              <a:t>nd</a:t>
            </a:r>
            <a:r>
              <a:rPr lang="en-US" sz="1200" b="1" i="0" kern="1200"/>
              <a:t>  edition of ISTEM – International Symposium for Thriving Eco-Energy in Mobility*</a:t>
            </a:r>
            <a:endParaRPr lang="en-US" sz="1200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4B015C8A-6F9E-5EFB-4E8F-B1E9453B5380}"/>
              </a:ext>
            </a:extLst>
          </p:cNvPr>
          <p:cNvSpPr/>
          <p:nvPr/>
        </p:nvSpPr>
        <p:spPr>
          <a:xfrm>
            <a:off x="956796" y="852971"/>
            <a:ext cx="548640" cy="548640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C490F3-678E-AEF3-F03A-535647950EC9}"/>
              </a:ext>
            </a:extLst>
          </p:cNvPr>
          <p:cNvCxnSpPr>
            <a:cxnSpLocks/>
            <a:stCxn id="50" idx="4"/>
          </p:cNvCxnSpPr>
          <p:nvPr/>
        </p:nvCxnSpPr>
        <p:spPr>
          <a:xfrm>
            <a:off x="1231116" y="1401611"/>
            <a:ext cx="0" cy="4710030"/>
          </a:xfrm>
          <a:prstGeom prst="line">
            <a:avLst/>
          </a:prstGeom>
          <a:ln w="38100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53" name="Picture 52">
            <a:extLst>
              <a:ext uri="{FF2B5EF4-FFF2-40B4-BE49-F238E27FC236}">
                <a16:creationId xmlns:a16="http://schemas.microsoft.com/office/drawing/2014/main" id="{2BCC85C7-AC4C-67D6-8F4D-048BFF8B51B0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62920" y="2582734"/>
            <a:ext cx="1287119" cy="216235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9C4542B6-1CA8-7C3A-E8A8-6B03F942468F}"/>
              </a:ext>
            </a:extLst>
          </p:cNvPr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4288" y="2501255"/>
            <a:ext cx="1079766" cy="297714"/>
          </a:xfrm>
          <a:prstGeom prst="rect">
            <a:avLst/>
          </a:prstGeom>
        </p:spPr>
      </p:pic>
      <p:pic>
        <p:nvPicPr>
          <p:cNvPr id="55" name="Picture 8" descr="logo">
            <a:extLst>
              <a:ext uri="{FF2B5EF4-FFF2-40B4-BE49-F238E27FC236}">
                <a16:creationId xmlns:a16="http://schemas.microsoft.com/office/drawing/2014/main" id="{0C9A073D-8C89-D340-8C6B-91797BDB7FC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75595" y="2551036"/>
            <a:ext cx="833376" cy="247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7CC4359A-4D36-1398-CE30-51AE6639AF2F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5485" y="2583292"/>
            <a:ext cx="835819" cy="215677"/>
          </a:xfrm>
          <a:prstGeom prst="rect">
            <a:avLst/>
          </a:prstGeom>
        </p:spPr>
      </p:pic>
      <p:sp>
        <p:nvSpPr>
          <p:cNvPr id="57" name="Oval 56">
            <a:extLst>
              <a:ext uri="{FF2B5EF4-FFF2-40B4-BE49-F238E27FC236}">
                <a16:creationId xmlns:a16="http://schemas.microsoft.com/office/drawing/2014/main" id="{FB48206B-3278-2631-88F9-706C5CCA3495}"/>
              </a:ext>
            </a:extLst>
          </p:cNvPr>
          <p:cNvSpPr/>
          <p:nvPr/>
        </p:nvSpPr>
        <p:spPr>
          <a:xfrm>
            <a:off x="2447335" y="2389083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D67AF8E6-5D4F-1B6D-3D1D-E89D92487BFB}"/>
              </a:ext>
            </a:extLst>
          </p:cNvPr>
          <p:cNvSpPr/>
          <p:nvPr/>
        </p:nvSpPr>
        <p:spPr>
          <a:xfrm>
            <a:off x="4649899" y="2389083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BC6AD1A7-38CF-BB01-1B1B-385F22694613}"/>
              </a:ext>
            </a:extLst>
          </p:cNvPr>
          <p:cNvSpPr/>
          <p:nvPr/>
        </p:nvSpPr>
        <p:spPr>
          <a:xfrm>
            <a:off x="6738778" y="2389083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A58B88B6-B7F7-C8EA-28E9-23304668A667}"/>
              </a:ext>
            </a:extLst>
          </p:cNvPr>
          <p:cNvSpPr/>
          <p:nvPr/>
        </p:nvSpPr>
        <p:spPr>
          <a:xfrm>
            <a:off x="8863812" y="2389083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D5279CDA-1327-2D37-0CA6-79A5951778C6}"/>
              </a:ext>
            </a:extLst>
          </p:cNvPr>
          <p:cNvSpPr/>
          <p:nvPr/>
        </p:nvSpPr>
        <p:spPr>
          <a:xfrm>
            <a:off x="10926973" y="2389083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9BA920EE-D380-CCA3-FF62-5723A981D65F}"/>
              </a:ext>
            </a:extLst>
          </p:cNvPr>
          <p:cNvSpPr/>
          <p:nvPr/>
        </p:nvSpPr>
        <p:spPr>
          <a:xfrm>
            <a:off x="2447335" y="4048546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14029E9C-2269-7723-C1ED-A48B9E1035A3}"/>
              </a:ext>
            </a:extLst>
          </p:cNvPr>
          <p:cNvSpPr/>
          <p:nvPr/>
        </p:nvSpPr>
        <p:spPr>
          <a:xfrm>
            <a:off x="4649899" y="4048546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DAA2B5A1-5994-74DB-1F1D-043F83DCC747}"/>
              </a:ext>
            </a:extLst>
          </p:cNvPr>
          <p:cNvSpPr/>
          <p:nvPr/>
        </p:nvSpPr>
        <p:spPr>
          <a:xfrm>
            <a:off x="6738778" y="4048546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2DBC41C-AAAB-C401-901D-F882312D337E}"/>
              </a:ext>
            </a:extLst>
          </p:cNvPr>
          <p:cNvSpPr/>
          <p:nvPr/>
        </p:nvSpPr>
        <p:spPr>
          <a:xfrm>
            <a:off x="8863812" y="4048546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B3324F5-897F-EF89-38BA-C9855DEB2667}"/>
              </a:ext>
            </a:extLst>
          </p:cNvPr>
          <p:cNvSpPr/>
          <p:nvPr/>
        </p:nvSpPr>
        <p:spPr>
          <a:xfrm>
            <a:off x="10926973" y="4048546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B9407925-42DA-2ECD-78CF-D5755DCD201A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978" y="2967306"/>
            <a:ext cx="1020597" cy="68013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BAE47FA1-D80C-6C59-7ED6-595F7B1E576D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5683" y="2967306"/>
            <a:ext cx="1020410" cy="680132"/>
          </a:xfrm>
          <a:prstGeom prst="rect">
            <a:avLst/>
          </a:prstGeom>
        </p:spPr>
      </p:pic>
      <p:pic>
        <p:nvPicPr>
          <p:cNvPr id="27" name="Picture 26" descr="3D face graphic">
            <a:extLst>
              <a:ext uri="{FF2B5EF4-FFF2-40B4-BE49-F238E27FC236}">
                <a16:creationId xmlns:a16="http://schemas.microsoft.com/office/drawing/2014/main" id="{1A26B071-8C32-1307-116C-7D1647A4B45C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2862" y="2954415"/>
            <a:ext cx="1023531" cy="680132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B98A9A20-483F-37DA-894E-F3F6417042D4}"/>
              </a:ext>
            </a:extLst>
          </p:cNvPr>
          <p:cNvSpPr txBox="1"/>
          <p:nvPr/>
        </p:nvSpPr>
        <p:spPr>
          <a:xfrm>
            <a:off x="1599643" y="3621792"/>
            <a:ext cx="200994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kern="1200"/>
              <a:t>3</a:t>
            </a:r>
            <a:r>
              <a:rPr lang="en-US" sz="1200" b="1" i="0" kern="1200" baseline="30000"/>
              <a:t>rd</a:t>
            </a:r>
            <a:r>
              <a:rPr lang="en-US" sz="1200" b="1" i="0" kern="1200"/>
              <a:t> Global Electrification Mobility Summit (GEMS)</a:t>
            </a:r>
            <a:endParaRPr lang="en-US" sz="120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C816C29-CC98-DC53-007C-027BC655FF17}"/>
              </a:ext>
            </a:extLst>
          </p:cNvPr>
          <p:cNvSpPr txBox="1"/>
          <p:nvPr/>
        </p:nvSpPr>
        <p:spPr>
          <a:xfrm>
            <a:off x="3589205" y="3621792"/>
            <a:ext cx="2189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 i="0" kern="1200"/>
              <a:t>Conference on Circular Economy &amp; Sustainability</a:t>
            </a:r>
            <a:endParaRPr lang="en-US" sz="12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3AD16C3-9B09-1113-C9B8-3FCF4BEA9A70}"/>
              </a:ext>
            </a:extLst>
          </p:cNvPr>
          <p:cNvSpPr txBox="1"/>
          <p:nvPr/>
        </p:nvSpPr>
        <p:spPr>
          <a:xfrm>
            <a:off x="5878274" y="3621792"/>
            <a:ext cx="18095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Battery Manufacturing &amp; Circular Economy </a:t>
            </a:r>
            <a:endParaRPr lang="en-US" sz="120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27B186F-F9FA-795C-7A25-9795279D61DD}"/>
              </a:ext>
            </a:extLst>
          </p:cNvPr>
          <p:cNvSpPr txBox="1"/>
          <p:nvPr/>
        </p:nvSpPr>
        <p:spPr>
          <a:xfrm>
            <a:off x="7582455" y="3621792"/>
            <a:ext cx="26493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Tech Innovation from India for ADAS and Security capabilities</a:t>
            </a:r>
            <a:endParaRPr lang="en-US" sz="120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310CAB1-6873-5EB8-59A9-5C21AEA9FEFE}"/>
              </a:ext>
            </a:extLst>
          </p:cNvPr>
          <p:cNvSpPr txBox="1"/>
          <p:nvPr/>
        </p:nvSpPr>
        <p:spPr>
          <a:xfrm>
            <a:off x="10069867" y="3621792"/>
            <a:ext cx="180952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b="1"/>
              <a:t>AI and Metaverse for Industry 4.0</a:t>
            </a:r>
            <a:endParaRPr lang="en-US" sz="1200"/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E95CFD14-C3F5-06CB-006D-788554C5D4CA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5721" y="2967306"/>
            <a:ext cx="1023523" cy="680132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83E16FC2-6CD6-FE84-081A-4F13682F06F4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3554" y="4242561"/>
            <a:ext cx="1287119" cy="216235"/>
          </a:xfrm>
          <a:prstGeom prst="rect">
            <a:avLst/>
          </a:prstGeom>
        </p:spPr>
      </p:pic>
      <p:pic>
        <p:nvPicPr>
          <p:cNvPr id="1024" name="Picture 8" descr="logo">
            <a:extLst>
              <a:ext uri="{FF2B5EF4-FFF2-40B4-BE49-F238E27FC236}">
                <a16:creationId xmlns:a16="http://schemas.microsoft.com/office/drawing/2014/main" id="{87683DE4-D510-D087-89E7-8FE5C2E972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69660" y="4211472"/>
            <a:ext cx="833376" cy="247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Picture 1024">
            <a:extLst>
              <a:ext uri="{FF2B5EF4-FFF2-40B4-BE49-F238E27FC236}">
                <a16:creationId xmlns:a16="http://schemas.microsoft.com/office/drawing/2014/main" id="{950A020D-41D0-555A-20D7-79F7EE0D5F50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71479" y="4243119"/>
            <a:ext cx="835819" cy="215677"/>
          </a:xfrm>
          <a:prstGeom prst="rect">
            <a:avLst/>
          </a:prstGeom>
        </p:spPr>
      </p:pic>
      <p:pic>
        <p:nvPicPr>
          <p:cNvPr id="1026" name="Picture 1025">
            <a:extLst>
              <a:ext uri="{FF2B5EF4-FFF2-40B4-BE49-F238E27FC236}">
                <a16:creationId xmlns:a16="http://schemas.microsoft.com/office/drawing/2014/main" id="{19E2A068-0AF0-3210-7BB5-FDB3426DE91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7670" y="4242561"/>
            <a:ext cx="1287119" cy="216235"/>
          </a:xfrm>
          <a:prstGeom prst="rect">
            <a:avLst/>
          </a:prstGeom>
        </p:spPr>
      </p:pic>
      <p:sp>
        <p:nvSpPr>
          <p:cNvPr id="1027" name="TextBox 1026">
            <a:extLst>
              <a:ext uri="{FF2B5EF4-FFF2-40B4-BE49-F238E27FC236}">
                <a16:creationId xmlns:a16="http://schemas.microsoft.com/office/drawing/2014/main" id="{CCC066E1-057D-EA39-BDAD-1DDDDFE15BCD}"/>
              </a:ext>
            </a:extLst>
          </p:cNvPr>
          <p:cNvSpPr txBox="1"/>
          <p:nvPr/>
        </p:nvSpPr>
        <p:spPr>
          <a:xfrm flipH="1">
            <a:off x="502859" y="4736600"/>
            <a:ext cx="617671" cy="80021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2000" b="1" dirty="0"/>
              <a:t>Day </a:t>
            </a:r>
            <a:r>
              <a:rPr lang="en-US" sz="3200" b="1" dirty="0"/>
              <a:t>03</a:t>
            </a:r>
            <a:endParaRPr lang="en-US" sz="2000" b="1" dirty="0"/>
          </a:p>
        </p:txBody>
      </p:sp>
      <p:pic>
        <p:nvPicPr>
          <p:cNvPr id="1030" name="Picture 8" descr="logo">
            <a:extLst>
              <a:ext uri="{FF2B5EF4-FFF2-40B4-BE49-F238E27FC236}">
                <a16:creationId xmlns:a16="http://schemas.microsoft.com/office/drawing/2014/main" id="{7A9EDB22-EFFC-319E-050E-F47D6FEFA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51105" y="5868871"/>
            <a:ext cx="833376" cy="2473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1030">
            <a:extLst>
              <a:ext uri="{FF2B5EF4-FFF2-40B4-BE49-F238E27FC236}">
                <a16:creationId xmlns:a16="http://schemas.microsoft.com/office/drawing/2014/main" id="{20A685FF-6B21-EA9B-C254-8EDB4FEA561D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03137" y="5895964"/>
            <a:ext cx="835819" cy="215677"/>
          </a:xfrm>
          <a:prstGeom prst="rect">
            <a:avLst/>
          </a:prstGeom>
        </p:spPr>
      </p:pic>
      <p:sp>
        <p:nvSpPr>
          <p:cNvPr id="1036" name="Oval 1035">
            <a:extLst>
              <a:ext uri="{FF2B5EF4-FFF2-40B4-BE49-F238E27FC236}">
                <a16:creationId xmlns:a16="http://schemas.microsoft.com/office/drawing/2014/main" id="{DBF6B7C4-88FF-7683-4203-684AB63320FD}"/>
              </a:ext>
            </a:extLst>
          </p:cNvPr>
          <p:cNvSpPr/>
          <p:nvPr/>
        </p:nvSpPr>
        <p:spPr>
          <a:xfrm>
            <a:off x="3288967" y="5698894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37" name="Oval 1036">
            <a:extLst>
              <a:ext uri="{FF2B5EF4-FFF2-40B4-BE49-F238E27FC236}">
                <a16:creationId xmlns:a16="http://schemas.microsoft.com/office/drawing/2014/main" id="{4003F707-6992-9112-82EC-D03003E6AF36}"/>
              </a:ext>
            </a:extLst>
          </p:cNvPr>
          <p:cNvSpPr/>
          <p:nvPr/>
        </p:nvSpPr>
        <p:spPr>
          <a:xfrm>
            <a:off x="6357871" y="5698894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39" name="Oval 1038">
            <a:extLst>
              <a:ext uri="{FF2B5EF4-FFF2-40B4-BE49-F238E27FC236}">
                <a16:creationId xmlns:a16="http://schemas.microsoft.com/office/drawing/2014/main" id="{CFBB7D26-0D86-03CF-CB94-0C0A604B025F}"/>
              </a:ext>
            </a:extLst>
          </p:cNvPr>
          <p:cNvSpPr/>
          <p:nvPr/>
        </p:nvSpPr>
        <p:spPr>
          <a:xfrm>
            <a:off x="9723536" y="5698894"/>
            <a:ext cx="88514" cy="88514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B64D968-2A76-7D68-BF00-073CA3C54EE4}"/>
              </a:ext>
            </a:extLst>
          </p:cNvPr>
          <p:cNvSpPr/>
          <p:nvPr/>
        </p:nvSpPr>
        <p:spPr>
          <a:xfrm>
            <a:off x="1116013" y="2327393"/>
            <a:ext cx="211895" cy="211895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1B7FAA14-7D7E-9A04-F591-4544E6CC7DC9}"/>
              </a:ext>
            </a:extLst>
          </p:cNvPr>
          <p:cNvSpPr/>
          <p:nvPr/>
        </p:nvSpPr>
        <p:spPr>
          <a:xfrm>
            <a:off x="1098495" y="3986856"/>
            <a:ext cx="211895" cy="211895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D2BA222-0F9C-2A9E-6513-C1C34F624A0B}"/>
              </a:ext>
            </a:extLst>
          </p:cNvPr>
          <p:cNvSpPr/>
          <p:nvPr/>
        </p:nvSpPr>
        <p:spPr>
          <a:xfrm>
            <a:off x="1109583" y="5637204"/>
            <a:ext cx="211895" cy="211895"/>
          </a:xfrm>
          <a:prstGeom prst="ellipse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5" name="Picture 4" descr="Car repair">
            <a:extLst>
              <a:ext uri="{FF2B5EF4-FFF2-40B4-BE49-F238E27FC236}">
                <a16:creationId xmlns:a16="http://schemas.microsoft.com/office/drawing/2014/main" id="{C1B05FF9-2A93-DDAC-0377-1858EDAB19DB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1963" y="4615737"/>
            <a:ext cx="1020448" cy="68013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81D65C-8BE7-4B28-2EF3-F1D14D797C4D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26438" y="1087010"/>
            <a:ext cx="1020596" cy="68013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2BE6F20-7E61-BEF9-1A7A-F223FD49396A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5525" y="2967306"/>
            <a:ext cx="1020597" cy="68013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3407479-6381-D0DC-7CD3-B10F57B76320}"/>
              </a:ext>
            </a:extLst>
          </p:cNvPr>
          <p:cNvPicPr>
            <a:picLocks noChangeAspect="1"/>
          </p:cNvPicPr>
          <p:nvPr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6268" y="2967306"/>
            <a:ext cx="1023523" cy="680132"/>
          </a:xfrm>
          <a:prstGeom prst="rect">
            <a:avLst/>
          </a:prstGeom>
        </p:spPr>
      </p:pic>
      <p:pic>
        <p:nvPicPr>
          <p:cNvPr id="2052" name="Picture 4" descr="Image preview">
            <a:extLst>
              <a:ext uri="{FF2B5EF4-FFF2-40B4-BE49-F238E27FC236}">
                <a16:creationId xmlns:a16="http://schemas.microsoft.com/office/drawing/2014/main" id="{FC9FF810-E9CB-6E0B-EC1E-33E6AF8D62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94396" y="1091882"/>
            <a:ext cx="1025439" cy="682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F421451-F010-4EAB-3FFD-777C121BB23C}"/>
              </a:ext>
            </a:extLst>
          </p:cNvPr>
          <p:cNvSpPr/>
          <p:nvPr/>
        </p:nvSpPr>
        <p:spPr>
          <a:xfrm>
            <a:off x="-8" y="6461799"/>
            <a:ext cx="7890999" cy="419638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0000"/>
              </a:lnSpc>
            </a:pPr>
            <a:r>
              <a:rPr lang="en-US" sz="1000">
                <a:solidFill>
                  <a:schemeClr val="tx1"/>
                </a:solidFill>
              </a:rPr>
              <a:t>*Theme: </a:t>
            </a:r>
            <a:r>
              <a:rPr lang="en-US" sz="1000" b="0" i="0"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>“Nature based Solutions: Road to Decarbonization</a:t>
            </a:r>
            <a:r>
              <a:rPr lang="en-US" sz="10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”</a:t>
            </a:r>
          </a:p>
          <a:p>
            <a:r>
              <a:rPr lang="en-US" sz="1000">
                <a:solidFill>
                  <a:srgbClr val="000000"/>
                </a:solidFill>
                <a:latin typeface="Arial" panose="020B0604020202020204" pitchFamily="34" charset="0"/>
              </a:rPr>
              <a:t>**</a:t>
            </a:r>
            <a:r>
              <a:rPr lang="en-US" sz="10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“Theme : Towards Nature Positive Pathways: Embracing regime of EPR with low-carbon strategies and Recycling in Automotive Sector”</a:t>
            </a:r>
            <a:endParaRPr lang="en-US" sz="1000" b="0" i="0">
              <a:solidFill>
                <a:srgbClr val="000000"/>
              </a:solidFill>
              <a:effectLst/>
              <a:latin typeface="Aptos" panose="020B0004020202020204" pitchFamily="34" charset="0"/>
            </a:endParaRPr>
          </a:p>
          <a:p>
            <a:pPr algn="ctr">
              <a:lnSpc>
                <a:spcPct val="100000"/>
              </a:lnSpc>
            </a:pPr>
            <a:endParaRPr lang="en-US" sz="1000"/>
          </a:p>
        </p:txBody>
      </p:sp>
      <p:sp>
        <p:nvSpPr>
          <p:cNvPr id="28" name="Slide Number Placeholder 27">
            <a:extLst>
              <a:ext uri="{FF2B5EF4-FFF2-40B4-BE49-F238E27FC236}">
                <a16:creationId xmlns:a16="http://schemas.microsoft.com/office/drawing/2014/main" id="{CEF5729F-E668-CD71-ACDF-1E26F2DC3A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13</a:t>
            </a:fld>
            <a:endParaRPr lang="en-US" sz="1000"/>
          </a:p>
        </p:txBody>
      </p:sp>
      <p:pic>
        <p:nvPicPr>
          <p:cNvPr id="24" name="Picture 23" descr="A logo for a tire manufacturer&#10;&#10;Description automatically generated">
            <a:extLst>
              <a:ext uri="{FF2B5EF4-FFF2-40B4-BE49-F238E27FC236}">
                <a16:creationId xmlns:a16="http://schemas.microsoft.com/office/drawing/2014/main" id="{A6A8C6C8-7138-278B-9FEC-A6A602AE5E5E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835" y="2433341"/>
            <a:ext cx="936751" cy="479127"/>
          </a:xfrm>
          <a:prstGeom prst="rect">
            <a:avLst/>
          </a:prstGeom>
        </p:spPr>
      </p:pic>
      <p:pic>
        <p:nvPicPr>
          <p:cNvPr id="36" name="Picture 35" descr="A logo for a tire manufacturer&#10;&#10;Description automatically generated">
            <a:extLst>
              <a:ext uri="{FF2B5EF4-FFF2-40B4-BE49-F238E27FC236}">
                <a16:creationId xmlns:a16="http://schemas.microsoft.com/office/drawing/2014/main" id="{18B10E79-5A97-D7BE-91C2-D2D7E089E480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05410" y="4092804"/>
            <a:ext cx="936751" cy="479127"/>
          </a:xfrm>
          <a:prstGeom prst="rect">
            <a:avLst/>
          </a:prstGeom>
        </p:spPr>
      </p:pic>
      <p:pic>
        <p:nvPicPr>
          <p:cNvPr id="42" name="Picture 41" descr="A logo for a tire manufacturer&#10;&#10;Description automatically generated">
            <a:extLst>
              <a:ext uri="{FF2B5EF4-FFF2-40B4-BE49-F238E27FC236}">
                <a16:creationId xmlns:a16="http://schemas.microsoft.com/office/drawing/2014/main" id="{3DC157BF-0313-35E3-13A1-A8B80EF0651B}"/>
              </a:ext>
            </a:extLst>
          </p:cNvPr>
          <p:cNvPicPr>
            <a:picLocks noChangeAspect="1"/>
          </p:cNvPicPr>
          <p:nvPr/>
        </p:nvPicPr>
        <p:blipFill rotWithShape="1">
          <a:blip r:embed="rId24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31330" y="5725222"/>
            <a:ext cx="936751" cy="479127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26046834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DE4818-3761-A5D0-DB75-7C8CF129D6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E4818-3761-A5D0-DB75-7C8CF129D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CA9B64A-B420-1C73-B53F-88BD1A713F2A}"/>
              </a:ext>
            </a:extLst>
          </p:cNvPr>
          <p:cNvSpPr/>
          <p:nvPr/>
        </p:nvSpPr>
        <p:spPr>
          <a:xfrm>
            <a:off x="356767" y="808219"/>
            <a:ext cx="6101182" cy="1204809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3200" b="1" dirty="0">
                <a:solidFill>
                  <a:schemeClr val="accent5"/>
                </a:solidFill>
              </a:rPr>
              <a:t>More Attraction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94F3036-26FA-B0CA-FE65-A9DA95F24BF9}"/>
              </a:ext>
            </a:extLst>
          </p:cNvPr>
          <p:cNvGrpSpPr/>
          <p:nvPr/>
        </p:nvGrpSpPr>
        <p:grpSpPr>
          <a:xfrm>
            <a:off x="537266" y="2304978"/>
            <a:ext cx="3444585" cy="2692355"/>
            <a:chOff x="537266" y="2304978"/>
            <a:chExt cx="3444585" cy="2692355"/>
          </a:xfrm>
        </p:grpSpPr>
        <p:pic>
          <p:nvPicPr>
            <p:cNvPr id="4098" name="Picture 2" descr="CEO roundtable">
              <a:extLst>
                <a:ext uri="{FF2B5EF4-FFF2-40B4-BE49-F238E27FC236}">
                  <a16:creationId xmlns:a16="http://schemas.microsoft.com/office/drawing/2014/main" id="{327BC2DB-55A4-CBE9-98E1-99BBEC7E53F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email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7200"/>
                      </a14:imgEffect>
                      <a14:imgEffect>
                        <a14:brightnessContrast brigh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7266" y="2304978"/>
              <a:ext cx="2786254" cy="23494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6437CB5-EC76-3180-6B57-D7B1B68D016C}"/>
                </a:ext>
              </a:extLst>
            </p:cNvPr>
            <p:cNvGrpSpPr/>
            <p:nvPr/>
          </p:nvGrpSpPr>
          <p:grpSpPr>
            <a:xfrm>
              <a:off x="867259" y="4311521"/>
              <a:ext cx="3114592" cy="685812"/>
              <a:chOff x="1236490" y="1198157"/>
              <a:chExt cx="1416108" cy="1416108"/>
            </a:xfrm>
          </p:grpSpPr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311F56E7-C82D-DBBA-3F04-6193C36387AE}"/>
                  </a:ext>
                </a:extLst>
              </p:cNvPr>
              <p:cNvSpPr/>
              <p:nvPr/>
            </p:nvSpPr>
            <p:spPr>
              <a:xfrm>
                <a:off x="1236490" y="1198157"/>
                <a:ext cx="1416108" cy="141610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82997D28-6D06-244C-8C1C-99F8834B75CF}"/>
                  </a:ext>
                </a:extLst>
              </p:cNvPr>
              <p:cNvSpPr txBox="1"/>
              <p:nvPr/>
            </p:nvSpPr>
            <p:spPr>
              <a:xfrm>
                <a:off x="1236490" y="1198157"/>
                <a:ext cx="1416108" cy="1416108"/>
              </a:xfrm>
              <a:prstGeom prst="rect">
                <a:avLst/>
              </a:prstGeom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7630" tIns="87630" rIns="87630" bIns="87630" numCol="1" spcCol="1270" anchor="ctr" anchorCtr="0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kern="1200"/>
                  <a:t>CEO Conclave </a:t>
                </a:r>
                <a:endParaRPr lang="en-IN" sz="1600" b="1" kern="1200"/>
              </a:p>
            </p:txBody>
          </p:sp>
        </p:grp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E4BB9D8D-4CC8-2890-9CFF-400F6F42FF58}"/>
              </a:ext>
            </a:extLst>
          </p:cNvPr>
          <p:cNvSpPr/>
          <p:nvPr/>
        </p:nvSpPr>
        <p:spPr>
          <a:xfrm>
            <a:off x="8155828" y="428625"/>
            <a:ext cx="2791359" cy="2347731"/>
          </a:xfrm>
          <a:prstGeom prst="rect">
            <a:avLst/>
          </a:prstGeom>
          <a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866866"/>
              <a:satOff val="32723"/>
              <a:lumOff val="856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CDBDAD3D-5C15-A043-4817-81949BC04E39}"/>
              </a:ext>
            </a:extLst>
          </p:cNvPr>
          <p:cNvGrpSpPr/>
          <p:nvPr/>
        </p:nvGrpSpPr>
        <p:grpSpPr>
          <a:xfrm>
            <a:off x="8436903" y="2377888"/>
            <a:ext cx="3114592" cy="685812"/>
            <a:chOff x="1236490" y="3933956"/>
            <a:chExt cx="1416108" cy="1416108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EFC43D1F-BE74-5CC2-7DA9-4327E5D8550A}"/>
                </a:ext>
              </a:extLst>
            </p:cNvPr>
            <p:cNvSpPr/>
            <p:nvPr/>
          </p:nvSpPr>
          <p:spPr>
            <a:xfrm>
              <a:off x="1236490" y="3933956"/>
              <a:ext cx="1416108" cy="141610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IN"/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1A56AA-B684-0A5E-DB49-34F232E6ABDE}"/>
                </a:ext>
              </a:extLst>
            </p:cNvPr>
            <p:cNvSpPr txBox="1"/>
            <p:nvPr/>
          </p:nvSpPr>
          <p:spPr>
            <a:xfrm>
              <a:off x="1236490" y="3933956"/>
              <a:ext cx="1416108" cy="1416108"/>
            </a:xfrm>
            <a:prstGeom prst="rect">
              <a:avLst/>
            </a:prstGeom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/>
                <a:t>State Sessions</a:t>
              </a:r>
              <a:endParaRPr lang="en-IN" sz="1600" b="1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3E72BCB5-DA33-082A-EF70-EE39C8C84E70}"/>
              </a:ext>
            </a:extLst>
          </p:cNvPr>
          <p:cNvGrpSpPr/>
          <p:nvPr/>
        </p:nvGrpSpPr>
        <p:grpSpPr>
          <a:xfrm>
            <a:off x="4444934" y="428625"/>
            <a:ext cx="3395667" cy="2635075"/>
            <a:chOff x="8155828" y="3512493"/>
            <a:chExt cx="3395667" cy="2635075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BBC2133-75E7-C790-B40F-5F40CF8C1789}"/>
                </a:ext>
              </a:extLst>
            </p:cNvPr>
            <p:cNvSpPr/>
            <p:nvPr/>
          </p:nvSpPr>
          <p:spPr>
            <a:xfrm>
              <a:off x="8155828" y="3512493"/>
              <a:ext cx="2791359" cy="2347731"/>
            </a:xfrm>
            <a:prstGeom prst="rect">
              <a:avLst/>
            </a:prstGeom>
            <a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433433"/>
                <a:satOff val="16362"/>
                <a:lumOff val="428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DBB0E056-854A-90FE-23E2-A2BCEC0D15CA}"/>
                </a:ext>
              </a:extLst>
            </p:cNvPr>
            <p:cNvGrpSpPr/>
            <p:nvPr/>
          </p:nvGrpSpPr>
          <p:grpSpPr>
            <a:xfrm>
              <a:off x="8436903" y="5461756"/>
              <a:ext cx="3114592" cy="685812"/>
              <a:chOff x="1236490" y="1198157"/>
              <a:chExt cx="1416108" cy="1416108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989567C3-CFD2-A8C6-7712-98AF1C684DA3}"/>
                  </a:ext>
                </a:extLst>
              </p:cNvPr>
              <p:cNvSpPr/>
              <p:nvPr/>
            </p:nvSpPr>
            <p:spPr>
              <a:xfrm>
                <a:off x="1236490" y="1198157"/>
                <a:ext cx="1416108" cy="1416108"/>
              </a:xfrm>
              <a:prstGeom prst="rect">
                <a:avLst/>
              </a:prstGeom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en-IN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38447078-D430-C282-ED31-52D93B007F66}"/>
                  </a:ext>
                </a:extLst>
              </p:cNvPr>
              <p:cNvSpPr txBox="1"/>
              <p:nvPr/>
            </p:nvSpPr>
            <p:spPr>
              <a:xfrm>
                <a:off x="1236490" y="1198157"/>
                <a:ext cx="1416108" cy="1416108"/>
              </a:xfrm>
              <a:prstGeom prst="rect">
                <a:avLst/>
              </a:prstGeom>
              <a:solidFill>
                <a:schemeClr val="accent3"/>
              </a:solidFill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7630" tIns="87630" rIns="87630" bIns="87630" numCol="1" spcCol="1270" anchor="ctr" anchorCtr="0">
                <a:noAutofit/>
              </a:bodyPr>
              <a:lstStyle/>
              <a:p>
                <a:pPr marL="0" lvl="0" indent="0" algn="ctr" defTabSz="10223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en-US" sz="1600" b="1" kern="1200"/>
                  <a:t>Buyer-Seller Meets</a:t>
                </a:r>
                <a:endParaRPr lang="en-IN" sz="1600" b="1" kern="1200"/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AC646F2-A325-E3D8-55DF-AC6BEBD839D4}"/>
              </a:ext>
            </a:extLst>
          </p:cNvPr>
          <p:cNvGrpSpPr/>
          <p:nvPr/>
        </p:nvGrpSpPr>
        <p:grpSpPr>
          <a:xfrm>
            <a:off x="8160604" y="3512493"/>
            <a:ext cx="3390891" cy="2645621"/>
            <a:chOff x="4444934" y="460045"/>
            <a:chExt cx="3390891" cy="2645621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E4C136C-212C-051B-2463-1896609D16D9}"/>
                </a:ext>
              </a:extLst>
            </p:cNvPr>
            <p:cNvSpPr/>
            <p:nvPr/>
          </p:nvSpPr>
          <p:spPr>
            <a:xfrm>
              <a:off x="4444934" y="460045"/>
              <a:ext cx="2791359" cy="2347731"/>
            </a:xfrm>
            <a:prstGeom prst="rect">
              <a:avLst/>
            </a:prstGeom>
            <a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1300299"/>
                <a:satOff val="49085"/>
                <a:lumOff val="1284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75F83E35-6580-E854-4BEC-F50A5985BF4C}"/>
                </a:ext>
              </a:extLst>
            </p:cNvPr>
            <p:cNvSpPr txBox="1"/>
            <p:nvPr/>
          </p:nvSpPr>
          <p:spPr>
            <a:xfrm>
              <a:off x="4721233" y="2419854"/>
              <a:ext cx="3114592" cy="685812"/>
            </a:xfrm>
            <a:prstGeom prst="rect">
              <a:avLst/>
            </a:prstGeom>
            <a:solidFill>
              <a:schemeClr val="accent5"/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/>
                <a:t>Go Karting</a:t>
              </a:r>
              <a:endParaRPr lang="en-IN" sz="1600" b="1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F10B95A5-ED77-2FA7-8CFA-28B719E0387C}"/>
              </a:ext>
            </a:extLst>
          </p:cNvPr>
          <p:cNvGrpSpPr/>
          <p:nvPr/>
        </p:nvGrpSpPr>
        <p:grpSpPr>
          <a:xfrm>
            <a:off x="4444934" y="3512493"/>
            <a:ext cx="3390891" cy="2635075"/>
            <a:chOff x="4444934" y="3512493"/>
            <a:chExt cx="3390891" cy="2635075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DC60D1F5-11D1-410D-DDCD-2F89477AD2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6057"/>
            <a:stretch/>
          </p:blipFill>
          <p:spPr>
            <a:xfrm>
              <a:off x="4444934" y="3512493"/>
              <a:ext cx="2794331" cy="2347731"/>
            </a:xfrm>
            <a:prstGeom prst="rect">
              <a:avLst/>
            </a:prstGeom>
          </p:spPr>
        </p:pic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6A98592-A37B-360D-9DCD-8C53CA514C46}"/>
                </a:ext>
              </a:extLst>
            </p:cNvPr>
            <p:cNvSpPr txBox="1"/>
            <p:nvPr/>
          </p:nvSpPr>
          <p:spPr>
            <a:xfrm>
              <a:off x="4721233" y="5461756"/>
              <a:ext cx="3114592" cy="685812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/>
                <a:t>SIAM </a:t>
              </a:r>
              <a:r>
                <a:rPr lang="en-US" sz="1600" b="1" err="1"/>
                <a:t>Surakshit</a:t>
              </a:r>
              <a:r>
                <a:rPr lang="en-US" sz="1600" b="1"/>
                <a:t> Safar Pavilion (Road Safety)*</a:t>
              </a:r>
            </a:p>
          </p:txBody>
        </p: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72A4DF9-132E-5112-F5AB-24E4ABE5333A}"/>
              </a:ext>
            </a:extLst>
          </p:cNvPr>
          <p:cNvSpPr txBox="1"/>
          <p:nvPr/>
        </p:nvSpPr>
        <p:spPr>
          <a:xfrm>
            <a:off x="6096000" y="6210998"/>
            <a:ext cx="575937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0815" indent="-170815" algn="r"/>
            <a:r>
              <a:rPr lang="en-US" sz="1000">
                <a:ea typeface="Cambria" panose="02040503050406030204" pitchFamily="18" charset="0"/>
              </a:rPr>
              <a:t>*The objective is to educate citizens about comprehensive aspects and importance of road safety</a:t>
            </a:r>
            <a:r>
              <a:rPr lang="en-US" sz="1000">
                <a:latin typeface="Cambria" panose="02040503050406030204" pitchFamily="18" charset="0"/>
                <a:ea typeface="Cambria" panose="02040503050406030204" pitchFamily="18" charset="0"/>
              </a:rPr>
              <a:t>. </a:t>
            </a:r>
          </a:p>
        </p:txBody>
      </p:sp>
      <p:sp>
        <p:nvSpPr>
          <p:cNvPr id="29" name="Slide Number Placeholder 28">
            <a:extLst>
              <a:ext uri="{FF2B5EF4-FFF2-40B4-BE49-F238E27FC236}">
                <a16:creationId xmlns:a16="http://schemas.microsoft.com/office/drawing/2014/main" id="{58594A1D-0EA8-D5F4-0160-9AE5AB57E1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14</a:t>
            </a:fld>
            <a:endParaRPr lang="en-US" sz="100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8254185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EA678AD5-9FD3-6B0C-5E91-773C6020CB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678AD5-9FD3-6B0C-5E91-773C6020CB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 descr="Aerial view of a highway with lights&#10;&#10;Description automatically generated">
            <a:extLst>
              <a:ext uri="{FF2B5EF4-FFF2-40B4-BE49-F238E27FC236}">
                <a16:creationId xmlns:a16="http://schemas.microsoft.com/office/drawing/2014/main" id="{B3365378-4FE0-98AF-BA9F-14752483B0DD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Rectangle: Diagonal Corners Rounded 11">
            <a:extLst>
              <a:ext uri="{FF2B5EF4-FFF2-40B4-BE49-F238E27FC236}">
                <a16:creationId xmlns:a16="http://schemas.microsoft.com/office/drawing/2014/main" id="{B0BD1D41-435C-229E-6ADA-ADE362947C94}"/>
              </a:ext>
            </a:extLst>
          </p:cNvPr>
          <p:cNvSpPr/>
          <p:nvPr/>
        </p:nvSpPr>
        <p:spPr>
          <a:xfrm>
            <a:off x="719488" y="2077275"/>
            <a:ext cx="5530647" cy="3023420"/>
          </a:xfrm>
          <a:prstGeom prst="round2DiagRect">
            <a:avLst/>
          </a:prstGeom>
          <a:solidFill>
            <a:schemeClr val="bg1"/>
          </a:solidFill>
          <a:ln w="38100"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5400">
                <a:solidFill>
                  <a:schemeClr val="accent5"/>
                </a:solidFill>
              </a:rPr>
              <a:t>THANK YOU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57450BDA-F429-76E4-7FEB-DD25743A1305}"/>
              </a:ext>
            </a:extLst>
          </p:cNvPr>
          <p:cNvGrpSpPr/>
          <p:nvPr/>
        </p:nvGrpSpPr>
        <p:grpSpPr>
          <a:xfrm>
            <a:off x="6569531" y="2299467"/>
            <a:ext cx="4438650" cy="1383934"/>
            <a:chOff x="6569531" y="2299467"/>
            <a:chExt cx="4438650" cy="1383934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3FCDD12-7FC4-E37B-2B09-6787D541CBBF}"/>
                </a:ext>
              </a:extLst>
            </p:cNvPr>
            <p:cNvSpPr txBox="1"/>
            <p:nvPr/>
          </p:nvSpPr>
          <p:spPr>
            <a:xfrm>
              <a:off x="7403704" y="3097640"/>
              <a:ext cx="2894841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b="1">
                  <a:hlinkClick r:id="rId8"/>
                </a:rPr>
                <a:t>www.bharat-mobility.com</a:t>
              </a:r>
              <a:endParaRPr lang="en-IN" sz="1600" b="1"/>
            </a:p>
          </p:txBody>
        </p:sp>
        <p:pic>
          <p:nvPicPr>
            <p:cNvPr id="15" name="Graphic 14" descr="Internet with solid fill">
              <a:extLst>
                <a:ext uri="{FF2B5EF4-FFF2-40B4-BE49-F238E27FC236}">
                  <a16:creationId xmlns:a16="http://schemas.microsoft.com/office/drawing/2014/main" id="{09E07C4E-3CBB-9317-8442-B217CAE34CD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589268" y="2879832"/>
              <a:ext cx="803569" cy="803569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00491FC6-9B54-E609-F71F-5BB0490A8D10}"/>
                </a:ext>
              </a:extLst>
            </p:cNvPr>
            <p:cNvSpPr txBox="1"/>
            <p:nvPr/>
          </p:nvSpPr>
          <p:spPr>
            <a:xfrm>
              <a:off x="6569531" y="2299467"/>
              <a:ext cx="4438650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>
                  <a:solidFill>
                    <a:schemeClr val="bg1"/>
                  </a:solidFill>
                </a:rPr>
                <a:t>For more details on participation and sponsorship opportunities, visit us at:</a:t>
              </a:r>
              <a:endParaRPr lang="en-IN" sz="1600" b="1">
                <a:solidFill>
                  <a:schemeClr val="bg1"/>
                </a:solidFill>
              </a:endParaRPr>
            </a:p>
          </p:txBody>
        </p:sp>
      </p:grpSp>
      <p:pic>
        <p:nvPicPr>
          <p:cNvPr id="9" name="Picture 8" descr="A close up of text&#10;&#10;Description automatically generated">
            <a:extLst>
              <a:ext uri="{FF2B5EF4-FFF2-40B4-BE49-F238E27FC236}">
                <a16:creationId xmlns:a16="http://schemas.microsoft.com/office/drawing/2014/main" id="{C7F585BA-D49D-4F36-0CCE-1041C6576925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30792" y="43249"/>
            <a:ext cx="1516037" cy="1097693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ED4E88-8C52-9A88-B40C-A04CAE590D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mtClean="0"/>
              <a:pPr/>
              <a:t>15</a:t>
            </a:fld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8594687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erson holding a charging station&#10;&#10;Description automatically generated">
            <a:extLst>
              <a:ext uri="{FF2B5EF4-FFF2-40B4-BE49-F238E27FC236}">
                <a16:creationId xmlns:a16="http://schemas.microsoft.com/office/drawing/2014/main" id="{7FD466AF-F589-6901-3A92-9D628173A64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691" b="7723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E755B762-43C5-C59F-6FB7-761E22B31EBF}"/>
              </a:ext>
            </a:extLst>
          </p:cNvPr>
          <p:cNvSpPr/>
          <p:nvPr/>
        </p:nvSpPr>
        <p:spPr>
          <a:xfrm>
            <a:off x="0" y="0"/>
            <a:ext cx="12191980" cy="6857990"/>
          </a:xfrm>
          <a:prstGeom prst="rect">
            <a:avLst/>
          </a:prstGeom>
          <a:solidFill>
            <a:schemeClr val="tx1">
              <a:alpha val="4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3722DA-819A-18E5-A848-806A17F2597F}"/>
              </a:ext>
            </a:extLst>
          </p:cNvPr>
          <p:cNvSpPr/>
          <p:nvPr/>
        </p:nvSpPr>
        <p:spPr>
          <a:xfrm>
            <a:off x="-3189" y="0"/>
            <a:ext cx="491937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EBCB424-D70A-6AF0-EF1E-A154480FB6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EBCB424-D70A-6AF0-EF1E-A154480FB6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8868090-DF49-ECFE-E575-C1A2F45B344D}"/>
              </a:ext>
            </a:extLst>
          </p:cNvPr>
          <p:cNvGrpSpPr/>
          <p:nvPr/>
        </p:nvGrpSpPr>
        <p:grpSpPr>
          <a:xfrm>
            <a:off x="6601191" y="355855"/>
            <a:ext cx="4094014" cy="5789450"/>
            <a:chOff x="6601191" y="355855"/>
            <a:chExt cx="4094014" cy="578945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5E27B97-593B-9165-78B2-14EED2464588}"/>
                </a:ext>
              </a:extLst>
            </p:cNvPr>
            <p:cNvGrpSpPr/>
            <p:nvPr/>
          </p:nvGrpSpPr>
          <p:grpSpPr>
            <a:xfrm>
              <a:off x="6667188" y="1110997"/>
              <a:ext cx="3962021" cy="5034308"/>
              <a:chOff x="6745133" y="1110997"/>
              <a:chExt cx="3962021" cy="5034308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C64ABE70-98C6-4F60-EBD9-41BF828FDA1D}"/>
                  </a:ext>
                </a:extLst>
              </p:cNvPr>
              <p:cNvSpPr/>
              <p:nvPr/>
            </p:nvSpPr>
            <p:spPr>
              <a:xfrm>
                <a:off x="6745133" y="1110997"/>
                <a:ext cx="1289304" cy="9509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ommon</a:t>
                </a:r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FCB0EEC2-1FFC-07BC-B0A9-232787AA467C}"/>
                  </a:ext>
                </a:extLst>
              </p:cNvPr>
              <p:cNvSpPr/>
              <p:nvPr/>
            </p:nvSpPr>
            <p:spPr>
              <a:xfrm>
                <a:off x="8081885" y="1110997"/>
                <a:ext cx="1289304" cy="9509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onnected</a:t>
                </a:r>
              </a:p>
            </p:txBody>
          </p:sp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E4038676-143D-64AA-68B6-9F27C6BB5123}"/>
                  </a:ext>
                </a:extLst>
              </p:cNvPr>
              <p:cNvSpPr/>
              <p:nvPr/>
            </p:nvSpPr>
            <p:spPr>
              <a:xfrm>
                <a:off x="9418638" y="1110997"/>
                <a:ext cx="1288516" cy="950976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onvenient</a:t>
                </a:r>
              </a:p>
            </p:txBody>
          </p:sp>
          <p:sp>
            <p:nvSpPr>
              <p:cNvPr id="9" name="Parallelogram 8">
                <a:extLst>
                  <a:ext uri="{FF2B5EF4-FFF2-40B4-BE49-F238E27FC236}">
                    <a16:creationId xmlns:a16="http://schemas.microsoft.com/office/drawing/2014/main" id="{2E6C1F5D-00BB-4CA6-F2BC-F05350AEADB8}"/>
                  </a:ext>
                </a:extLst>
              </p:cNvPr>
              <p:cNvSpPr/>
              <p:nvPr/>
            </p:nvSpPr>
            <p:spPr>
              <a:xfrm>
                <a:off x="9178243" y="2126906"/>
                <a:ext cx="1528911" cy="951346"/>
              </a:xfrm>
              <a:prstGeom prst="parallelogram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ongestion - free</a:t>
                </a:r>
              </a:p>
            </p:txBody>
          </p:sp>
          <p:sp>
            <p:nvSpPr>
              <p:cNvPr id="10" name="Parallelogram 9">
                <a:extLst>
                  <a:ext uri="{FF2B5EF4-FFF2-40B4-BE49-F238E27FC236}">
                    <a16:creationId xmlns:a16="http://schemas.microsoft.com/office/drawing/2014/main" id="{70957D1A-D9C5-98D7-AE32-EAA0A9017203}"/>
                  </a:ext>
                </a:extLst>
              </p:cNvPr>
              <p:cNvSpPr/>
              <p:nvPr/>
            </p:nvSpPr>
            <p:spPr>
              <a:xfrm>
                <a:off x="8922994" y="3149257"/>
                <a:ext cx="1528911" cy="951346"/>
              </a:xfrm>
              <a:prstGeom prst="parallelogram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harged</a:t>
                </a:r>
              </a:p>
            </p:txBody>
          </p:sp>
          <p:sp>
            <p:nvSpPr>
              <p:cNvPr id="11" name="Parallelogram 10">
                <a:extLst>
                  <a:ext uri="{FF2B5EF4-FFF2-40B4-BE49-F238E27FC236}">
                    <a16:creationId xmlns:a16="http://schemas.microsoft.com/office/drawing/2014/main" id="{D3578798-3890-BF84-C33B-7DC35AAD9032}"/>
                  </a:ext>
                </a:extLst>
              </p:cNvPr>
              <p:cNvSpPr/>
              <p:nvPr/>
            </p:nvSpPr>
            <p:spPr>
              <a:xfrm>
                <a:off x="8665819" y="4171608"/>
                <a:ext cx="1528911" cy="951346"/>
              </a:xfrm>
              <a:prstGeom prst="parallelogram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lean</a:t>
                </a:r>
              </a:p>
            </p:txBody>
          </p:sp>
          <p:sp>
            <p:nvSpPr>
              <p:cNvPr id="12" name="Parallelogram 11">
                <a:extLst>
                  <a:ext uri="{FF2B5EF4-FFF2-40B4-BE49-F238E27FC236}">
                    <a16:creationId xmlns:a16="http://schemas.microsoft.com/office/drawing/2014/main" id="{062B0B91-4124-4D6C-65BF-227B802EBAD3}"/>
                  </a:ext>
                </a:extLst>
              </p:cNvPr>
              <p:cNvSpPr/>
              <p:nvPr/>
            </p:nvSpPr>
            <p:spPr>
              <a:xfrm>
                <a:off x="8405561" y="5193959"/>
                <a:ext cx="1528911" cy="951346"/>
              </a:xfrm>
              <a:prstGeom prst="parallelogram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r>
                  <a:rPr lang="en-US" sz="1400" b="1">
                    <a:solidFill>
                      <a:schemeClr val="accent5"/>
                    </a:solidFill>
                  </a:rPr>
                  <a:t>C</a:t>
                </a:r>
                <a:r>
                  <a:rPr lang="en-US" sz="1200" b="1">
                    <a:solidFill>
                      <a:schemeClr val="tx1"/>
                    </a:solidFill>
                  </a:rPr>
                  <a:t>utting - edge</a:t>
                </a:r>
              </a:p>
            </p:txBody>
          </p:sp>
        </p:grp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0450AC42-A4EC-36A9-8813-33872706B10D}"/>
                </a:ext>
              </a:extLst>
            </p:cNvPr>
            <p:cNvSpPr/>
            <p:nvPr/>
          </p:nvSpPr>
          <p:spPr>
            <a:xfrm>
              <a:off x="6601191" y="355855"/>
              <a:ext cx="4094014" cy="735157"/>
            </a:xfrm>
            <a:prstGeom prst="rect">
              <a:avLst/>
            </a:prstGeom>
            <a:noFill/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US" sz="3200" b="1" u="sng">
                  <a:solidFill>
                    <a:schemeClr val="bg1"/>
                  </a:solidFill>
                </a:rPr>
                <a:t>Inspired by the 7Cs</a:t>
              </a: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A04E22B2-271C-50F8-4116-C24E08FC939A}"/>
              </a:ext>
            </a:extLst>
          </p:cNvPr>
          <p:cNvSpPr/>
          <p:nvPr/>
        </p:nvSpPr>
        <p:spPr>
          <a:xfrm>
            <a:off x="220418" y="5133010"/>
            <a:ext cx="4472155" cy="1361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 i="1">
                <a:solidFill>
                  <a:schemeClr val="tx1"/>
                </a:solidFill>
              </a:rPr>
              <a:t>"</a:t>
            </a:r>
            <a:r>
              <a:rPr lang="en-US" sz="1400" b="1" i="1">
                <a:solidFill>
                  <a:schemeClr val="tx1"/>
                </a:solidFill>
                <a:ea typeface="+mn-lt"/>
                <a:cs typeface="+mn-lt"/>
              </a:rPr>
              <a:t>The need of the hour today is to develop a mobility ecosystem that is sustainable and in harmony with the environment. Environmentally-conscious and economically viable mobility is the future."</a:t>
            </a:r>
            <a:endParaRPr lang="en-US" sz="1600" b="1" i="1">
              <a:solidFill>
                <a:schemeClr val="tx1"/>
              </a:solidFill>
              <a:cs typeface="Arial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DEB1880-3D5B-8946-A1CE-6F9F59F95552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205" y="118730"/>
            <a:ext cx="3745122" cy="5004417"/>
          </a:xfrm>
          <a:prstGeom prst="rect">
            <a:avLst/>
          </a:prstGeom>
          <a:noFill/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9550239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DE4818-3761-A5D0-DB75-7C8CF129D6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E4818-3761-A5D0-DB75-7C8CF129D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834D9B70-1784-1296-5296-CB49D25D8569}"/>
              </a:ext>
            </a:extLst>
          </p:cNvPr>
          <p:cNvSpPr/>
          <p:nvPr/>
        </p:nvSpPr>
        <p:spPr>
          <a:xfrm>
            <a:off x="0" y="0"/>
            <a:ext cx="5143500" cy="68548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1600">
                <a:solidFill>
                  <a:schemeClr val="tx1"/>
                </a:solidFill>
              </a:rPr>
              <a:t>Imag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CA9B64A-B420-1C73-B53F-88BD1A713F2A}"/>
              </a:ext>
            </a:extLst>
          </p:cNvPr>
          <p:cNvSpPr/>
          <p:nvPr/>
        </p:nvSpPr>
        <p:spPr>
          <a:xfrm>
            <a:off x="5662192" y="1681266"/>
            <a:ext cx="6401987" cy="1204809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4000" b="1">
                <a:solidFill>
                  <a:schemeClr val="accent5"/>
                </a:solidFill>
              </a:rPr>
              <a:t>India’s first global mobility expo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934429-C6A6-FDF4-725D-25BA18105714}"/>
              </a:ext>
            </a:extLst>
          </p:cNvPr>
          <p:cNvSpPr txBox="1"/>
          <p:nvPr/>
        </p:nvSpPr>
        <p:spPr>
          <a:xfrm>
            <a:off x="5662193" y="3663291"/>
            <a:ext cx="610118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>
                <a:solidFill>
                  <a:schemeClr val="accent5"/>
                </a:solidFill>
              </a:rPr>
              <a:t>Bharat Mobility Global Expo 2024 </a:t>
            </a:r>
            <a:r>
              <a:rPr lang="en-US"/>
              <a:t>celebrates India’s growing role as a global hub for mobility, showcasing success across the automotive and mobility value chain and cutting-edge technologies – all seamlessly presented under one roof</a:t>
            </a: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381CB8B-6FDD-58DE-1B86-AE1FEDB25759}"/>
              </a:ext>
            </a:extLst>
          </p:cNvPr>
          <p:cNvCxnSpPr/>
          <p:nvPr/>
        </p:nvCxnSpPr>
        <p:spPr>
          <a:xfrm>
            <a:off x="5457825" y="1126920"/>
            <a:ext cx="0" cy="4604159"/>
          </a:xfrm>
          <a:prstGeom prst="line">
            <a:avLst/>
          </a:prstGeom>
          <a:ln w="28575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9E5D0787-CBC4-8029-FB8B-F9D53969B53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5143500" cy="6858000"/>
          </a:xfrm>
          <a:prstGeom prst="rect">
            <a:avLst/>
          </a:prstGeom>
        </p:spPr>
      </p:pic>
      <p:pic>
        <p:nvPicPr>
          <p:cNvPr id="4" name="Picture 3" descr="A close up of text&#10;&#10;Description automatically generated">
            <a:extLst>
              <a:ext uri="{FF2B5EF4-FFF2-40B4-BE49-F238E27FC236}">
                <a16:creationId xmlns:a16="http://schemas.microsoft.com/office/drawing/2014/main" id="{EE3C8FAC-AE22-900E-8B94-793810EFF294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20" b="14012"/>
          <a:stretch/>
        </p:blipFill>
        <p:spPr>
          <a:xfrm>
            <a:off x="10657032" y="241529"/>
            <a:ext cx="1290888" cy="671727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3780DB-789C-8D5A-A38D-B2D9FFE622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3</a:t>
            </a:fld>
            <a:endParaRPr lang="en-US" sz="100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302756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F2C0E2-CEA0-4CAB-9EE0-B90EF27F43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F2C0E2-CEA0-4CAB-9EE0-B90EF27F43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189F0F0-3DF2-44F4-B222-2613AC294F9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2DB3353-24CE-B895-8139-CC2B21C6571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00000">
                <a:srgbClr val="FFFFFF">
                  <a:alpha val="80000"/>
                </a:srgbClr>
              </a:gs>
              <a:gs pos="0">
                <a:schemeClr val="bg1">
                  <a:alpha val="80000"/>
                </a:schemeClr>
              </a:gs>
              <a:gs pos="100000">
                <a:schemeClr val="bg1">
                  <a:alpha val="2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8A4D00B-0468-2A1F-53C5-7DAD57DA7566}"/>
              </a:ext>
            </a:extLst>
          </p:cNvPr>
          <p:cNvSpPr txBox="1"/>
          <p:nvPr/>
        </p:nvSpPr>
        <p:spPr>
          <a:xfrm>
            <a:off x="442911" y="149251"/>
            <a:ext cx="9970041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DB536A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hy Bharat Mobility Global Expo 2024 is a unique event</a:t>
            </a:r>
          </a:p>
        </p:txBody>
      </p:sp>
      <p:pic>
        <p:nvPicPr>
          <p:cNvPr id="18" name="Picture 17" descr="A close up of text&#10;&#10;Description automatically generated">
            <a:extLst>
              <a:ext uri="{FF2B5EF4-FFF2-40B4-BE49-F238E27FC236}">
                <a16:creationId xmlns:a16="http://schemas.microsoft.com/office/drawing/2014/main" id="{CC01A616-7289-3A30-A3B1-04BBF8A8957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20" b="14012"/>
          <a:stretch/>
        </p:blipFill>
        <p:spPr>
          <a:xfrm>
            <a:off x="10657032" y="241529"/>
            <a:ext cx="1290888" cy="671727"/>
          </a:xfrm>
          <a:prstGeom prst="rect">
            <a:avLst/>
          </a:prstGeom>
        </p:spPr>
      </p:pic>
      <p:grpSp>
        <p:nvGrpSpPr>
          <p:cNvPr id="25" name="Group 24">
            <a:extLst>
              <a:ext uri="{FF2B5EF4-FFF2-40B4-BE49-F238E27FC236}">
                <a16:creationId xmlns:a16="http://schemas.microsoft.com/office/drawing/2014/main" id="{A68F6D46-5569-078B-D140-C2DD9502C052}"/>
              </a:ext>
            </a:extLst>
          </p:cNvPr>
          <p:cNvGrpSpPr/>
          <p:nvPr/>
        </p:nvGrpSpPr>
        <p:grpSpPr>
          <a:xfrm>
            <a:off x="978908" y="2103438"/>
            <a:ext cx="3082104" cy="3493750"/>
            <a:chOff x="442914" y="2103438"/>
            <a:chExt cx="2588082" cy="3493750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8E80A40-3AA1-F8D2-A334-08423B6B78E0}"/>
                </a:ext>
              </a:extLst>
            </p:cNvPr>
            <p:cNvGrpSpPr/>
            <p:nvPr/>
          </p:nvGrpSpPr>
          <p:grpSpPr>
            <a:xfrm>
              <a:off x="442914" y="2103438"/>
              <a:ext cx="2588082" cy="3493750"/>
              <a:chOff x="442914" y="1682125"/>
              <a:chExt cx="2588082" cy="3493750"/>
            </a:xfrm>
          </p:grpSpPr>
          <p:sp useBgFill="1">
            <p:nvSpPr>
              <p:cNvPr id="8" name="Rectangle: Rounded Corners 7">
                <a:extLst>
                  <a:ext uri="{FF2B5EF4-FFF2-40B4-BE49-F238E27FC236}">
                    <a16:creationId xmlns:a16="http://schemas.microsoft.com/office/drawing/2014/main" id="{BFF6AB10-37DC-B402-DAD2-E9AFAB133C01}"/>
                  </a:ext>
                </a:extLst>
              </p:cNvPr>
              <p:cNvSpPr/>
              <p:nvPr/>
            </p:nvSpPr>
            <p:spPr>
              <a:xfrm>
                <a:off x="442914" y="1682125"/>
                <a:ext cx="2588082" cy="3493750"/>
              </a:xfrm>
              <a:prstGeom prst="roundRect">
                <a:avLst>
                  <a:gd name="adj" fmla="val 9301"/>
                </a:avLst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" name="Rectangle: Rounded Corners 8">
                <a:extLst>
                  <a:ext uri="{FF2B5EF4-FFF2-40B4-BE49-F238E27FC236}">
                    <a16:creationId xmlns:a16="http://schemas.microsoft.com/office/drawing/2014/main" id="{61828E2E-1BF8-A0E9-AF0B-5C97E5D0DABA}"/>
                  </a:ext>
                </a:extLst>
              </p:cNvPr>
              <p:cNvSpPr/>
              <p:nvPr/>
            </p:nvSpPr>
            <p:spPr>
              <a:xfrm>
                <a:off x="531549" y="1755743"/>
                <a:ext cx="2427993" cy="3346514"/>
              </a:xfrm>
              <a:prstGeom prst="roundRect">
                <a:avLst>
                  <a:gd name="adj" fmla="val 6821"/>
                </a:avLst>
              </a:prstGeom>
              <a:solidFill>
                <a:schemeClr val="bg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536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 Truly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536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lobal Event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DB536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0DE52B0C-3BC6-EC9C-C005-F03AA421BD8D}"/>
                </a:ext>
              </a:extLst>
            </p:cNvPr>
            <p:cNvSpPr/>
            <p:nvPr/>
          </p:nvSpPr>
          <p:spPr>
            <a:xfrm>
              <a:off x="531549" y="4234083"/>
              <a:ext cx="2427993" cy="1128081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articipation from more than 50+ countries, and more confirmations expected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BE09712-C1B1-B092-BC12-BA31CC288C8E}"/>
              </a:ext>
            </a:extLst>
          </p:cNvPr>
          <p:cNvGrpSpPr/>
          <p:nvPr/>
        </p:nvGrpSpPr>
        <p:grpSpPr>
          <a:xfrm>
            <a:off x="4595685" y="2103438"/>
            <a:ext cx="3082104" cy="3493750"/>
            <a:chOff x="3348944" y="2103438"/>
            <a:chExt cx="2588082" cy="3493750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C65D381-2E34-5F98-4418-4506B5048E76}"/>
                </a:ext>
              </a:extLst>
            </p:cNvPr>
            <p:cNvGrpSpPr/>
            <p:nvPr/>
          </p:nvGrpSpPr>
          <p:grpSpPr>
            <a:xfrm>
              <a:off x="3348944" y="2103438"/>
              <a:ext cx="2588082" cy="3493750"/>
              <a:chOff x="3328531" y="1682125"/>
              <a:chExt cx="2588082" cy="3493750"/>
            </a:xfrm>
          </p:grpSpPr>
          <p:sp useBgFill="1">
            <p:nvSpPr>
              <p:cNvPr id="4" name="Rectangle: Rounded Corners 3">
                <a:extLst>
                  <a:ext uri="{FF2B5EF4-FFF2-40B4-BE49-F238E27FC236}">
                    <a16:creationId xmlns:a16="http://schemas.microsoft.com/office/drawing/2014/main" id="{AE8ACB2A-3E42-4054-B1A5-9AB12655083E}"/>
                  </a:ext>
                </a:extLst>
              </p:cNvPr>
              <p:cNvSpPr/>
              <p:nvPr/>
            </p:nvSpPr>
            <p:spPr>
              <a:xfrm>
                <a:off x="3328531" y="1682125"/>
                <a:ext cx="2588082" cy="3493750"/>
              </a:xfrm>
              <a:prstGeom prst="roundRect">
                <a:avLst>
                  <a:gd name="adj" fmla="val 9301"/>
                </a:avLst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" name="Rectangle: Rounded Corners 4">
                <a:extLst>
                  <a:ext uri="{FF2B5EF4-FFF2-40B4-BE49-F238E27FC236}">
                    <a16:creationId xmlns:a16="http://schemas.microsoft.com/office/drawing/2014/main" id="{60A1FF69-57BF-78AA-B360-5BED0D34874D}"/>
                  </a:ext>
                </a:extLst>
              </p:cNvPr>
              <p:cNvSpPr/>
              <p:nvPr/>
            </p:nvSpPr>
            <p:spPr>
              <a:xfrm>
                <a:off x="3417166" y="1755743"/>
                <a:ext cx="2427993" cy="3346514"/>
              </a:xfrm>
              <a:prstGeom prst="roundRect">
                <a:avLst>
                  <a:gd name="adj" fmla="val 6821"/>
                </a:avLst>
              </a:prstGeom>
              <a:solidFill>
                <a:schemeClr val="bg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536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ull Mobility Ecosystem Presence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DB536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36720D5-D90D-5E62-56EB-3B1759F8D4EA}"/>
                </a:ext>
              </a:extLst>
            </p:cNvPr>
            <p:cNvSpPr/>
            <p:nvPr/>
          </p:nvSpPr>
          <p:spPr>
            <a:xfrm>
              <a:off x="3437579" y="3868258"/>
              <a:ext cx="2427993" cy="1128081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From Automobiles to Automotive Components, EV Batteries, Charging Infrastructure, </a:t>
              </a:r>
              <a:r>
                <a:rPr kumimoji="0" lang="en-US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yres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, New Mobility Systems, Automotive Steel and Technology Solutions.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677BFA9-9E47-8A76-4693-7E00B0073337}"/>
              </a:ext>
            </a:extLst>
          </p:cNvPr>
          <p:cNvGrpSpPr/>
          <p:nvPr/>
        </p:nvGrpSpPr>
        <p:grpSpPr>
          <a:xfrm>
            <a:off x="8212462" y="2103438"/>
            <a:ext cx="3082104" cy="3493750"/>
            <a:chOff x="6254974" y="2103438"/>
            <a:chExt cx="2588082" cy="349375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D119D3C-A992-85E7-6089-CFAB07711716}"/>
                </a:ext>
              </a:extLst>
            </p:cNvPr>
            <p:cNvGrpSpPr/>
            <p:nvPr/>
          </p:nvGrpSpPr>
          <p:grpSpPr>
            <a:xfrm>
              <a:off x="6254974" y="2103438"/>
              <a:ext cx="2588082" cy="3493750"/>
              <a:chOff x="6275387" y="1682125"/>
              <a:chExt cx="2588082" cy="3493750"/>
            </a:xfrm>
          </p:grpSpPr>
          <p:sp useBgFill="1">
            <p:nvSpPr>
              <p:cNvPr id="6" name="Rectangle: Rounded Corners 5">
                <a:extLst>
                  <a:ext uri="{FF2B5EF4-FFF2-40B4-BE49-F238E27FC236}">
                    <a16:creationId xmlns:a16="http://schemas.microsoft.com/office/drawing/2014/main" id="{BC6005C0-A388-77AE-0D7C-3D7E34086EFE}"/>
                  </a:ext>
                </a:extLst>
              </p:cNvPr>
              <p:cNvSpPr/>
              <p:nvPr/>
            </p:nvSpPr>
            <p:spPr>
              <a:xfrm>
                <a:off x="6275387" y="1682125"/>
                <a:ext cx="2588082" cy="3493750"/>
              </a:xfrm>
              <a:prstGeom prst="roundRect">
                <a:avLst>
                  <a:gd name="adj" fmla="val 9301"/>
                </a:avLst>
              </a:prstGeom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8CB92D2A-C9E8-978E-476F-ACB7063B7AB8}"/>
                  </a:ext>
                </a:extLst>
              </p:cNvPr>
              <p:cNvSpPr/>
              <p:nvPr/>
            </p:nvSpPr>
            <p:spPr>
              <a:xfrm>
                <a:off x="6364022" y="1755743"/>
                <a:ext cx="2427993" cy="3346514"/>
              </a:xfrm>
              <a:prstGeom prst="roundRect">
                <a:avLst>
                  <a:gd name="adj" fmla="val 6821"/>
                </a:avLst>
              </a:prstGeom>
              <a:solidFill>
                <a:schemeClr val="bg2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30000"/>
                  </a:prstClr>
                </a:outerShdw>
              </a:effectLst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r>
                  <a:rPr kumimoji="0" lang="en-US" sz="2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DB536A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Government, Associations, Industry come together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Pct val="100000"/>
                  <a:buFontTx/>
                  <a:buNone/>
                  <a:tabLst/>
                  <a:defRPr/>
                </a:pP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DB536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E7FA6C94-AD7C-D902-988D-AE16012192A9}"/>
                </a:ext>
              </a:extLst>
            </p:cNvPr>
            <p:cNvSpPr/>
            <p:nvPr/>
          </p:nvSpPr>
          <p:spPr>
            <a:xfrm>
              <a:off x="6343609" y="4234082"/>
              <a:ext cx="2427993" cy="1128081"/>
            </a:xfrm>
            <a:prstGeom prst="rect">
              <a:avLst/>
            </a:prstGeom>
            <a:solidFill>
              <a:srgbClr val="DEDEDE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Pct val="100000"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9 ministries, 11 apex industry associations and several industry leaders come together</a:t>
              </a:r>
            </a:p>
          </p:txBody>
        </p:sp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21899293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>
            <a:extLst>
              <a:ext uri="{FF2B5EF4-FFF2-40B4-BE49-F238E27FC236}">
                <a16:creationId xmlns:a16="http://schemas.microsoft.com/office/drawing/2014/main" id="{ED448702-B0B4-C167-3529-237BBE9ACA7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7977099" y="0"/>
            <a:ext cx="4244176" cy="6858000"/>
          </a:xfrm>
          <a:prstGeom prst="rect">
            <a:avLst/>
          </a:prstGeom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DE4818-3761-A5D0-DB75-7C8CF129D6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E4818-3761-A5D0-DB75-7C8CF129D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CA9B64A-B420-1C73-B53F-88BD1A713F2A}"/>
              </a:ext>
            </a:extLst>
          </p:cNvPr>
          <p:cNvSpPr/>
          <p:nvPr/>
        </p:nvSpPr>
        <p:spPr>
          <a:xfrm>
            <a:off x="1034776" y="1005793"/>
            <a:ext cx="6101182" cy="1204809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0000"/>
              </a:lnSpc>
            </a:pPr>
            <a:r>
              <a:rPr lang="en-US" sz="2800" b="1">
                <a:solidFill>
                  <a:schemeClr val="accent5"/>
                </a:solidFill>
              </a:rPr>
              <a:t>A confluence of the world’s leading automotive and mobility player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1934429-C6A6-FDF4-725D-25BA18105714}"/>
              </a:ext>
            </a:extLst>
          </p:cNvPr>
          <p:cNvSpPr txBox="1"/>
          <p:nvPr/>
        </p:nvSpPr>
        <p:spPr>
          <a:xfrm>
            <a:off x="1111542" y="2617712"/>
            <a:ext cx="610118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/>
              <a:t>Hosted by </a:t>
            </a:r>
            <a:r>
              <a:rPr lang="en-US">
                <a:solidFill>
                  <a:srgbClr val="202124"/>
                </a:solidFill>
              </a:rPr>
              <a:t>Industry associations and supported by Ministry of Commerce &amp; Industry, </a:t>
            </a:r>
            <a:r>
              <a:rPr lang="en-GB" b="1">
                <a:solidFill>
                  <a:schemeClr val="accent5"/>
                </a:solidFill>
              </a:rPr>
              <a:t>Bharat Mobility Global Expo 2024</a:t>
            </a:r>
            <a:r>
              <a:rPr lang="en-GB"/>
              <a:t> is one-of-its kind confluence covering the entire mobility ecosystem </a:t>
            </a:r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4381CB8B-6FDD-58DE-1B86-AE1FEDB25759}"/>
              </a:ext>
            </a:extLst>
          </p:cNvPr>
          <p:cNvCxnSpPr>
            <a:cxnSpLocks/>
          </p:cNvCxnSpPr>
          <p:nvPr/>
        </p:nvCxnSpPr>
        <p:spPr>
          <a:xfrm>
            <a:off x="907473" y="897794"/>
            <a:ext cx="0" cy="3038256"/>
          </a:xfrm>
          <a:prstGeom prst="line">
            <a:avLst/>
          </a:prstGeom>
          <a:ln w="28575" cap="sq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0761C8F6-A54C-524C-F9D5-FDB469ED249A}"/>
              </a:ext>
            </a:extLst>
          </p:cNvPr>
          <p:cNvSpPr/>
          <p:nvPr/>
        </p:nvSpPr>
        <p:spPr>
          <a:xfrm>
            <a:off x="806905" y="4102304"/>
            <a:ext cx="1129902" cy="8312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798C8FE-5BE5-AAC6-A508-93FA32337948}"/>
              </a:ext>
            </a:extLst>
          </p:cNvPr>
          <p:cNvSpPr/>
          <p:nvPr/>
        </p:nvSpPr>
        <p:spPr>
          <a:xfrm>
            <a:off x="2149207" y="4083831"/>
            <a:ext cx="1129902" cy="8312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D43384F0-DCC9-BA3F-57E8-2D095087793C}"/>
              </a:ext>
            </a:extLst>
          </p:cNvPr>
          <p:cNvSpPr/>
          <p:nvPr/>
        </p:nvSpPr>
        <p:spPr>
          <a:xfrm>
            <a:off x="3531236" y="4102304"/>
            <a:ext cx="1129902" cy="8312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DE6C43D6-06C0-5D41-1993-A36F61604E5C}"/>
              </a:ext>
            </a:extLst>
          </p:cNvPr>
          <p:cNvSpPr/>
          <p:nvPr/>
        </p:nvSpPr>
        <p:spPr>
          <a:xfrm>
            <a:off x="4913266" y="4120777"/>
            <a:ext cx="1129902" cy="8312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496B8B4-970D-F28D-0E96-781A29015962}"/>
              </a:ext>
            </a:extLst>
          </p:cNvPr>
          <p:cNvSpPr/>
          <p:nvPr/>
        </p:nvSpPr>
        <p:spPr>
          <a:xfrm>
            <a:off x="6310611" y="4120777"/>
            <a:ext cx="1129902" cy="831273"/>
          </a:xfrm>
          <a:prstGeom prst="round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8AC3923-8487-CDBB-4F6F-A40063912A5C}"/>
              </a:ext>
            </a:extLst>
          </p:cNvPr>
          <p:cNvCxnSpPr>
            <a:cxnSpLocks/>
          </p:cNvCxnSpPr>
          <p:nvPr/>
        </p:nvCxnSpPr>
        <p:spPr>
          <a:xfrm>
            <a:off x="2033156" y="3972994"/>
            <a:ext cx="0" cy="1690255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CAB5250A-3AD2-9B33-5AEC-A7B60F4F90CA}"/>
              </a:ext>
            </a:extLst>
          </p:cNvPr>
          <p:cNvCxnSpPr>
            <a:cxnSpLocks/>
          </p:cNvCxnSpPr>
          <p:nvPr/>
        </p:nvCxnSpPr>
        <p:spPr>
          <a:xfrm>
            <a:off x="3403943" y="3991466"/>
            <a:ext cx="0" cy="1690255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280DC3E-CA8A-7B89-E04F-DA86D85FF368}"/>
              </a:ext>
            </a:extLst>
          </p:cNvPr>
          <p:cNvCxnSpPr>
            <a:cxnSpLocks/>
          </p:cNvCxnSpPr>
          <p:nvPr/>
        </p:nvCxnSpPr>
        <p:spPr>
          <a:xfrm>
            <a:off x="4783490" y="3991466"/>
            <a:ext cx="0" cy="1690255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60758E09-0330-77DD-AD59-792AC25B98F3}"/>
              </a:ext>
            </a:extLst>
          </p:cNvPr>
          <p:cNvCxnSpPr>
            <a:cxnSpLocks/>
          </p:cNvCxnSpPr>
          <p:nvPr/>
        </p:nvCxnSpPr>
        <p:spPr>
          <a:xfrm>
            <a:off x="6163037" y="3991466"/>
            <a:ext cx="0" cy="1690255"/>
          </a:xfrm>
          <a:prstGeom prst="line">
            <a:avLst/>
          </a:prstGeom>
          <a:ln w="12700" cap="sq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1A39645-9B73-2D18-A0DD-8AB4895BCDA5}"/>
              </a:ext>
            </a:extLst>
          </p:cNvPr>
          <p:cNvSpPr txBox="1"/>
          <p:nvPr/>
        </p:nvSpPr>
        <p:spPr>
          <a:xfrm>
            <a:off x="711508" y="5044413"/>
            <a:ext cx="1276894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>
                <a:solidFill>
                  <a:schemeClr val="accent5"/>
                </a:solidFill>
              </a:rPr>
              <a:t>600+ </a:t>
            </a:r>
          </a:p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/>
              <a:t>Exhibitors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E20BB61-3A31-EF97-7A38-3AE0355B399F}"/>
              </a:ext>
            </a:extLst>
          </p:cNvPr>
          <p:cNvSpPr txBox="1"/>
          <p:nvPr/>
        </p:nvSpPr>
        <p:spPr>
          <a:xfrm>
            <a:off x="2084626" y="5056918"/>
            <a:ext cx="127689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>
                <a:solidFill>
                  <a:schemeClr val="accent5"/>
                </a:solidFill>
              </a:rPr>
              <a:t>50+ </a:t>
            </a:r>
          </a:p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/>
              <a:t>Overseas Player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426A68F5-739A-B7A2-5F64-A0882F813CB9}"/>
              </a:ext>
            </a:extLst>
          </p:cNvPr>
          <p:cNvSpPr txBox="1"/>
          <p:nvPr/>
        </p:nvSpPr>
        <p:spPr>
          <a:xfrm>
            <a:off x="3464172" y="5075390"/>
            <a:ext cx="127689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>
                <a:solidFill>
                  <a:schemeClr val="accent5"/>
                </a:solidFill>
              </a:rPr>
              <a:t>80,000+ </a:t>
            </a:r>
          </a:p>
          <a:p>
            <a:pPr algn="ctr">
              <a:lnSpc>
                <a:spcPct val="100000"/>
              </a:lnSpc>
              <a:buSzPct val="100000"/>
            </a:pPr>
            <a:r>
              <a:rPr lang="en-US" sz="1600"/>
              <a:t>Event </a:t>
            </a:r>
          </a:p>
          <a:p>
            <a:pPr algn="ctr">
              <a:lnSpc>
                <a:spcPct val="100000"/>
              </a:lnSpc>
              <a:buSzPct val="100000"/>
            </a:pPr>
            <a:r>
              <a:rPr lang="en-US" sz="1600"/>
              <a:t>Visitors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1B42ECA-7E70-F51E-E8CE-2A6A32659A71}"/>
              </a:ext>
            </a:extLst>
          </p:cNvPr>
          <p:cNvSpPr txBox="1"/>
          <p:nvPr/>
        </p:nvSpPr>
        <p:spPr>
          <a:xfrm>
            <a:off x="4860936" y="5075390"/>
            <a:ext cx="127689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>
                <a:solidFill>
                  <a:schemeClr val="accent5"/>
                </a:solidFill>
              </a:rPr>
              <a:t>1,00,000+ </a:t>
            </a:r>
          </a:p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/>
              <a:t>Sq. Meters Area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9E80C07-5A39-2B12-8B97-13D6AF656D3A}"/>
              </a:ext>
            </a:extLst>
          </p:cNvPr>
          <p:cNvSpPr txBox="1"/>
          <p:nvPr/>
        </p:nvSpPr>
        <p:spPr>
          <a:xfrm>
            <a:off x="6201060" y="5075390"/>
            <a:ext cx="1276894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>
                <a:solidFill>
                  <a:schemeClr val="accent5"/>
                </a:solidFill>
              </a:rPr>
              <a:t>13+ </a:t>
            </a:r>
          </a:p>
          <a:p>
            <a:pPr algn="ctr"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600"/>
              <a:t>Knowledge Sessions </a:t>
            </a:r>
          </a:p>
        </p:txBody>
      </p:sp>
      <p:sp>
        <p:nvSpPr>
          <p:cNvPr id="37" name="Freeform 51">
            <a:extLst>
              <a:ext uri="{FF2B5EF4-FFF2-40B4-BE49-F238E27FC236}">
                <a16:creationId xmlns:a16="http://schemas.microsoft.com/office/drawing/2014/main" id="{4D81A4F0-6E30-24C6-A057-F024794558C2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821983" y="4259754"/>
            <a:ext cx="543470" cy="479425"/>
          </a:xfrm>
          <a:custGeom>
            <a:avLst/>
            <a:gdLst>
              <a:gd name="T0" fmla="*/ 68 w 239"/>
              <a:gd name="T1" fmla="*/ 15 h 200"/>
              <a:gd name="T2" fmla="*/ 103 w 239"/>
              <a:gd name="T3" fmla="*/ 49 h 200"/>
              <a:gd name="T4" fmla="*/ 68 w 239"/>
              <a:gd name="T5" fmla="*/ 84 h 200"/>
              <a:gd name="T6" fmla="*/ 33 w 239"/>
              <a:gd name="T7" fmla="*/ 49 h 200"/>
              <a:gd name="T8" fmla="*/ 68 w 239"/>
              <a:gd name="T9" fmla="*/ 15 h 200"/>
              <a:gd name="T10" fmla="*/ 68 w 239"/>
              <a:gd name="T11" fmla="*/ 99 h 200"/>
              <a:gd name="T12" fmla="*/ 118 w 239"/>
              <a:gd name="T13" fmla="*/ 49 h 200"/>
              <a:gd name="T14" fmla="*/ 68 w 239"/>
              <a:gd name="T15" fmla="*/ 0 h 200"/>
              <a:gd name="T16" fmla="*/ 18 w 239"/>
              <a:gd name="T17" fmla="*/ 49 h 200"/>
              <a:gd name="T18" fmla="*/ 68 w 239"/>
              <a:gd name="T19" fmla="*/ 99 h 200"/>
              <a:gd name="T20" fmla="*/ 187 w 239"/>
              <a:gd name="T21" fmla="*/ 61 h 200"/>
              <a:gd name="T22" fmla="*/ 211 w 239"/>
              <a:gd name="T23" fmla="*/ 85 h 200"/>
              <a:gd name="T24" fmla="*/ 187 w 239"/>
              <a:gd name="T25" fmla="*/ 109 h 200"/>
              <a:gd name="T26" fmla="*/ 163 w 239"/>
              <a:gd name="T27" fmla="*/ 85 h 200"/>
              <a:gd name="T28" fmla="*/ 187 w 239"/>
              <a:gd name="T29" fmla="*/ 61 h 200"/>
              <a:gd name="T30" fmla="*/ 187 w 239"/>
              <a:gd name="T31" fmla="*/ 124 h 200"/>
              <a:gd name="T32" fmla="*/ 226 w 239"/>
              <a:gd name="T33" fmla="*/ 85 h 200"/>
              <a:gd name="T34" fmla="*/ 187 w 239"/>
              <a:gd name="T35" fmla="*/ 46 h 200"/>
              <a:gd name="T36" fmla="*/ 148 w 239"/>
              <a:gd name="T37" fmla="*/ 85 h 200"/>
              <a:gd name="T38" fmla="*/ 187 w 239"/>
              <a:gd name="T39" fmla="*/ 124 h 200"/>
              <a:gd name="T40" fmla="*/ 224 w 239"/>
              <a:gd name="T41" fmla="*/ 185 h 200"/>
              <a:gd name="T42" fmla="*/ 143 w 239"/>
              <a:gd name="T43" fmla="*/ 185 h 200"/>
              <a:gd name="T44" fmla="*/ 143 w 239"/>
              <a:gd name="T45" fmla="*/ 159 h 200"/>
              <a:gd name="T46" fmla="*/ 224 w 239"/>
              <a:gd name="T47" fmla="*/ 159 h 200"/>
              <a:gd name="T48" fmla="*/ 224 w 239"/>
              <a:gd name="T49" fmla="*/ 185 h 200"/>
              <a:gd name="T50" fmla="*/ 128 w 239"/>
              <a:gd name="T51" fmla="*/ 185 h 200"/>
              <a:gd name="T52" fmla="*/ 15 w 239"/>
              <a:gd name="T53" fmla="*/ 185 h 200"/>
              <a:gd name="T54" fmla="*/ 15 w 239"/>
              <a:gd name="T55" fmla="*/ 147 h 200"/>
              <a:gd name="T56" fmla="*/ 128 w 239"/>
              <a:gd name="T57" fmla="*/ 147 h 200"/>
              <a:gd name="T58" fmla="*/ 128 w 239"/>
              <a:gd name="T59" fmla="*/ 150 h 200"/>
              <a:gd name="T60" fmla="*/ 128 w 239"/>
              <a:gd name="T61" fmla="*/ 185 h 200"/>
              <a:gd name="T62" fmla="*/ 234 w 239"/>
              <a:gd name="T63" fmla="*/ 148 h 200"/>
              <a:gd name="T64" fmla="*/ 143 w 239"/>
              <a:gd name="T65" fmla="*/ 143 h 200"/>
              <a:gd name="T66" fmla="*/ 143 w 239"/>
              <a:gd name="T67" fmla="*/ 137 h 200"/>
              <a:gd name="T68" fmla="*/ 138 w 239"/>
              <a:gd name="T69" fmla="*/ 135 h 200"/>
              <a:gd name="T70" fmla="*/ 4 w 239"/>
              <a:gd name="T71" fmla="*/ 135 h 200"/>
              <a:gd name="T72" fmla="*/ 0 w 239"/>
              <a:gd name="T73" fmla="*/ 137 h 200"/>
              <a:gd name="T74" fmla="*/ 0 w 239"/>
              <a:gd name="T75" fmla="*/ 200 h 200"/>
              <a:gd name="T76" fmla="*/ 128 w 239"/>
              <a:gd name="T77" fmla="*/ 200 h 200"/>
              <a:gd name="T78" fmla="*/ 143 w 239"/>
              <a:gd name="T79" fmla="*/ 200 h 200"/>
              <a:gd name="T80" fmla="*/ 239 w 239"/>
              <a:gd name="T81" fmla="*/ 200 h 200"/>
              <a:gd name="T82" fmla="*/ 239 w 239"/>
              <a:gd name="T83" fmla="*/ 150 h 200"/>
              <a:gd name="T84" fmla="*/ 234 w 239"/>
              <a:gd name="T85" fmla="*/ 148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39" h="200">
                <a:moveTo>
                  <a:pt x="68" y="15"/>
                </a:moveTo>
                <a:cubicBezTo>
                  <a:pt x="87" y="15"/>
                  <a:pt x="103" y="30"/>
                  <a:pt x="103" y="49"/>
                </a:cubicBezTo>
                <a:cubicBezTo>
                  <a:pt x="103" y="68"/>
                  <a:pt x="87" y="84"/>
                  <a:pt x="68" y="84"/>
                </a:cubicBezTo>
                <a:cubicBezTo>
                  <a:pt x="49" y="84"/>
                  <a:pt x="33" y="68"/>
                  <a:pt x="33" y="49"/>
                </a:cubicBezTo>
                <a:cubicBezTo>
                  <a:pt x="33" y="30"/>
                  <a:pt x="49" y="15"/>
                  <a:pt x="68" y="15"/>
                </a:cubicBezTo>
                <a:moveTo>
                  <a:pt x="68" y="99"/>
                </a:moveTo>
                <a:cubicBezTo>
                  <a:pt x="95" y="99"/>
                  <a:pt x="118" y="77"/>
                  <a:pt x="118" y="49"/>
                </a:cubicBezTo>
                <a:cubicBezTo>
                  <a:pt x="118" y="22"/>
                  <a:pt x="95" y="0"/>
                  <a:pt x="68" y="0"/>
                </a:cubicBezTo>
                <a:cubicBezTo>
                  <a:pt x="41" y="0"/>
                  <a:pt x="18" y="22"/>
                  <a:pt x="18" y="49"/>
                </a:cubicBezTo>
                <a:cubicBezTo>
                  <a:pt x="18" y="77"/>
                  <a:pt x="41" y="99"/>
                  <a:pt x="68" y="99"/>
                </a:cubicBezTo>
                <a:moveTo>
                  <a:pt x="187" y="61"/>
                </a:moveTo>
                <a:cubicBezTo>
                  <a:pt x="201" y="61"/>
                  <a:pt x="211" y="72"/>
                  <a:pt x="211" y="85"/>
                </a:cubicBezTo>
                <a:cubicBezTo>
                  <a:pt x="211" y="98"/>
                  <a:pt x="201" y="109"/>
                  <a:pt x="187" y="109"/>
                </a:cubicBezTo>
                <a:cubicBezTo>
                  <a:pt x="174" y="109"/>
                  <a:pt x="163" y="98"/>
                  <a:pt x="163" y="85"/>
                </a:cubicBezTo>
                <a:cubicBezTo>
                  <a:pt x="163" y="72"/>
                  <a:pt x="174" y="61"/>
                  <a:pt x="187" y="61"/>
                </a:cubicBezTo>
                <a:moveTo>
                  <a:pt x="187" y="124"/>
                </a:moveTo>
                <a:cubicBezTo>
                  <a:pt x="209" y="124"/>
                  <a:pt x="226" y="107"/>
                  <a:pt x="226" y="85"/>
                </a:cubicBezTo>
                <a:cubicBezTo>
                  <a:pt x="226" y="64"/>
                  <a:pt x="209" y="46"/>
                  <a:pt x="187" y="46"/>
                </a:cubicBezTo>
                <a:cubicBezTo>
                  <a:pt x="166" y="46"/>
                  <a:pt x="148" y="64"/>
                  <a:pt x="148" y="85"/>
                </a:cubicBezTo>
                <a:cubicBezTo>
                  <a:pt x="148" y="107"/>
                  <a:pt x="166" y="124"/>
                  <a:pt x="187" y="124"/>
                </a:cubicBezTo>
                <a:moveTo>
                  <a:pt x="224" y="185"/>
                </a:moveTo>
                <a:cubicBezTo>
                  <a:pt x="143" y="185"/>
                  <a:pt x="143" y="185"/>
                  <a:pt x="143" y="185"/>
                </a:cubicBezTo>
                <a:cubicBezTo>
                  <a:pt x="143" y="159"/>
                  <a:pt x="143" y="159"/>
                  <a:pt x="143" y="159"/>
                </a:cubicBezTo>
                <a:cubicBezTo>
                  <a:pt x="167" y="149"/>
                  <a:pt x="200" y="149"/>
                  <a:pt x="224" y="159"/>
                </a:cubicBezTo>
                <a:lnTo>
                  <a:pt x="224" y="185"/>
                </a:lnTo>
                <a:close/>
                <a:moveTo>
                  <a:pt x="128" y="185"/>
                </a:moveTo>
                <a:cubicBezTo>
                  <a:pt x="15" y="185"/>
                  <a:pt x="15" y="185"/>
                  <a:pt x="15" y="185"/>
                </a:cubicBezTo>
                <a:cubicBezTo>
                  <a:pt x="15" y="147"/>
                  <a:pt x="15" y="147"/>
                  <a:pt x="15" y="147"/>
                </a:cubicBezTo>
                <a:cubicBezTo>
                  <a:pt x="48" y="132"/>
                  <a:pt x="94" y="132"/>
                  <a:pt x="128" y="147"/>
                </a:cubicBezTo>
                <a:cubicBezTo>
                  <a:pt x="128" y="150"/>
                  <a:pt x="128" y="150"/>
                  <a:pt x="128" y="150"/>
                </a:cubicBezTo>
                <a:lnTo>
                  <a:pt x="128" y="185"/>
                </a:lnTo>
                <a:close/>
                <a:moveTo>
                  <a:pt x="234" y="148"/>
                </a:moveTo>
                <a:cubicBezTo>
                  <a:pt x="208" y="135"/>
                  <a:pt x="171" y="134"/>
                  <a:pt x="143" y="143"/>
                </a:cubicBezTo>
                <a:cubicBezTo>
                  <a:pt x="143" y="137"/>
                  <a:pt x="143" y="137"/>
                  <a:pt x="143" y="137"/>
                </a:cubicBezTo>
                <a:cubicBezTo>
                  <a:pt x="138" y="135"/>
                  <a:pt x="138" y="135"/>
                  <a:pt x="138" y="135"/>
                </a:cubicBezTo>
                <a:cubicBezTo>
                  <a:pt x="99" y="116"/>
                  <a:pt x="43" y="116"/>
                  <a:pt x="4" y="135"/>
                </a:cubicBezTo>
                <a:cubicBezTo>
                  <a:pt x="0" y="137"/>
                  <a:pt x="0" y="137"/>
                  <a:pt x="0" y="137"/>
                </a:cubicBezTo>
                <a:cubicBezTo>
                  <a:pt x="0" y="200"/>
                  <a:pt x="0" y="200"/>
                  <a:pt x="0" y="200"/>
                </a:cubicBezTo>
                <a:cubicBezTo>
                  <a:pt x="128" y="200"/>
                  <a:pt x="128" y="200"/>
                  <a:pt x="128" y="200"/>
                </a:cubicBezTo>
                <a:cubicBezTo>
                  <a:pt x="143" y="200"/>
                  <a:pt x="143" y="200"/>
                  <a:pt x="143" y="200"/>
                </a:cubicBezTo>
                <a:cubicBezTo>
                  <a:pt x="239" y="200"/>
                  <a:pt x="239" y="200"/>
                  <a:pt x="239" y="200"/>
                </a:cubicBezTo>
                <a:cubicBezTo>
                  <a:pt x="239" y="150"/>
                  <a:pt x="239" y="150"/>
                  <a:pt x="239" y="150"/>
                </a:cubicBezTo>
                <a:lnTo>
                  <a:pt x="234" y="14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38" name="Freeform 28">
            <a:extLst>
              <a:ext uri="{FF2B5EF4-FFF2-40B4-BE49-F238E27FC236}">
                <a16:creationId xmlns:a16="http://schemas.microsoft.com/office/drawing/2014/main" id="{DD273D70-3232-3BA1-37F9-89C55533B66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482052" y="4258166"/>
            <a:ext cx="457658" cy="481013"/>
          </a:xfrm>
          <a:custGeom>
            <a:avLst/>
            <a:gdLst>
              <a:gd name="T0" fmla="*/ 156 w 200"/>
              <a:gd name="T1" fmla="*/ 144 h 200"/>
              <a:gd name="T2" fmla="*/ 187 w 200"/>
              <a:gd name="T3" fmla="*/ 107 h 200"/>
              <a:gd name="T4" fmla="*/ 138 w 200"/>
              <a:gd name="T5" fmla="*/ 179 h 200"/>
              <a:gd name="T6" fmla="*/ 167 w 200"/>
              <a:gd name="T7" fmla="*/ 157 h 200"/>
              <a:gd name="T8" fmla="*/ 33 w 200"/>
              <a:gd name="T9" fmla="*/ 157 h 200"/>
              <a:gd name="T10" fmla="*/ 62 w 200"/>
              <a:gd name="T11" fmla="*/ 179 h 200"/>
              <a:gd name="T12" fmla="*/ 38 w 200"/>
              <a:gd name="T13" fmla="*/ 107 h 200"/>
              <a:gd name="T14" fmla="*/ 24 w 200"/>
              <a:gd name="T15" fmla="*/ 144 h 200"/>
              <a:gd name="T16" fmla="*/ 38 w 200"/>
              <a:gd name="T17" fmla="*/ 107 h 200"/>
              <a:gd name="T18" fmla="*/ 44 w 200"/>
              <a:gd name="T19" fmla="*/ 57 h 200"/>
              <a:gd name="T20" fmla="*/ 13 w 200"/>
              <a:gd name="T21" fmla="*/ 94 h 200"/>
              <a:gd name="T22" fmla="*/ 62 w 200"/>
              <a:gd name="T23" fmla="*/ 22 h 200"/>
              <a:gd name="T24" fmla="*/ 33 w 200"/>
              <a:gd name="T25" fmla="*/ 44 h 200"/>
              <a:gd name="T26" fmla="*/ 167 w 200"/>
              <a:gd name="T27" fmla="*/ 44 h 200"/>
              <a:gd name="T28" fmla="*/ 138 w 200"/>
              <a:gd name="T29" fmla="*/ 22 h 200"/>
              <a:gd name="T30" fmla="*/ 106 w 200"/>
              <a:gd name="T31" fmla="*/ 94 h 200"/>
              <a:gd name="T32" fmla="*/ 143 w 200"/>
              <a:gd name="T33" fmla="*/ 57 h 200"/>
              <a:gd name="T34" fmla="*/ 106 w 200"/>
              <a:gd name="T35" fmla="*/ 94 h 200"/>
              <a:gd name="T36" fmla="*/ 106 w 200"/>
              <a:gd name="T37" fmla="*/ 157 h 200"/>
              <a:gd name="T38" fmla="*/ 106 w 200"/>
              <a:gd name="T39" fmla="*/ 187 h 200"/>
              <a:gd name="T40" fmla="*/ 94 w 200"/>
              <a:gd name="T41" fmla="*/ 187 h 200"/>
              <a:gd name="T42" fmla="*/ 94 w 200"/>
              <a:gd name="T43" fmla="*/ 157 h 200"/>
              <a:gd name="T44" fmla="*/ 94 w 200"/>
              <a:gd name="T45" fmla="*/ 44 h 200"/>
              <a:gd name="T46" fmla="*/ 94 w 200"/>
              <a:gd name="T47" fmla="*/ 14 h 200"/>
              <a:gd name="T48" fmla="*/ 138 w 200"/>
              <a:gd name="T49" fmla="*/ 44 h 200"/>
              <a:gd name="T50" fmla="*/ 106 w 200"/>
              <a:gd name="T51" fmla="*/ 14 h 200"/>
              <a:gd name="T52" fmla="*/ 94 w 200"/>
              <a:gd name="T53" fmla="*/ 57 h 200"/>
              <a:gd name="T54" fmla="*/ 51 w 200"/>
              <a:gd name="T55" fmla="*/ 94 h 200"/>
              <a:gd name="T56" fmla="*/ 51 w 200"/>
              <a:gd name="T57" fmla="*/ 107 h 200"/>
              <a:gd name="T58" fmla="*/ 94 w 200"/>
              <a:gd name="T59" fmla="*/ 144 h 200"/>
              <a:gd name="T60" fmla="*/ 51 w 200"/>
              <a:gd name="T61" fmla="*/ 107 h 200"/>
              <a:gd name="T62" fmla="*/ 106 w 200"/>
              <a:gd name="T63" fmla="*/ 144 h 200"/>
              <a:gd name="T64" fmla="*/ 149 w 200"/>
              <a:gd name="T65" fmla="*/ 107 h 200"/>
              <a:gd name="T66" fmla="*/ 162 w 200"/>
              <a:gd name="T67" fmla="*/ 94 h 200"/>
              <a:gd name="T68" fmla="*/ 176 w 200"/>
              <a:gd name="T69" fmla="*/ 57 h 200"/>
              <a:gd name="T70" fmla="*/ 162 w 200"/>
              <a:gd name="T71" fmla="*/ 94 h 200"/>
              <a:gd name="T72" fmla="*/ 0 w 200"/>
              <a:gd name="T73" fmla="*/ 100 h 200"/>
              <a:gd name="T74" fmla="*/ 200 w 200"/>
              <a:gd name="T75" fmla="*/ 100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0" h="200">
                <a:moveTo>
                  <a:pt x="176" y="144"/>
                </a:moveTo>
                <a:cubicBezTo>
                  <a:pt x="156" y="144"/>
                  <a:pt x="156" y="144"/>
                  <a:pt x="156" y="144"/>
                </a:cubicBezTo>
                <a:cubicBezTo>
                  <a:pt x="159" y="133"/>
                  <a:pt x="161" y="120"/>
                  <a:pt x="162" y="107"/>
                </a:cubicBezTo>
                <a:cubicBezTo>
                  <a:pt x="187" y="107"/>
                  <a:pt x="187" y="107"/>
                  <a:pt x="187" y="107"/>
                </a:cubicBezTo>
                <a:cubicBezTo>
                  <a:pt x="186" y="120"/>
                  <a:pt x="182" y="133"/>
                  <a:pt x="176" y="144"/>
                </a:cubicBezTo>
                <a:close/>
                <a:moveTo>
                  <a:pt x="138" y="179"/>
                </a:moveTo>
                <a:cubicBezTo>
                  <a:pt x="143" y="173"/>
                  <a:pt x="148" y="165"/>
                  <a:pt x="151" y="157"/>
                </a:cubicBezTo>
                <a:cubicBezTo>
                  <a:pt x="167" y="157"/>
                  <a:pt x="167" y="157"/>
                  <a:pt x="167" y="157"/>
                </a:cubicBezTo>
                <a:cubicBezTo>
                  <a:pt x="159" y="166"/>
                  <a:pt x="149" y="173"/>
                  <a:pt x="138" y="179"/>
                </a:cubicBezTo>
                <a:close/>
                <a:moveTo>
                  <a:pt x="33" y="157"/>
                </a:moveTo>
                <a:cubicBezTo>
                  <a:pt x="49" y="157"/>
                  <a:pt x="49" y="157"/>
                  <a:pt x="49" y="157"/>
                </a:cubicBezTo>
                <a:cubicBezTo>
                  <a:pt x="52" y="165"/>
                  <a:pt x="57" y="173"/>
                  <a:pt x="62" y="179"/>
                </a:cubicBezTo>
                <a:cubicBezTo>
                  <a:pt x="51" y="173"/>
                  <a:pt x="41" y="166"/>
                  <a:pt x="33" y="157"/>
                </a:cubicBezTo>
                <a:close/>
                <a:moveTo>
                  <a:pt x="38" y="107"/>
                </a:moveTo>
                <a:cubicBezTo>
                  <a:pt x="39" y="120"/>
                  <a:pt x="41" y="133"/>
                  <a:pt x="44" y="144"/>
                </a:cubicBezTo>
                <a:cubicBezTo>
                  <a:pt x="24" y="144"/>
                  <a:pt x="24" y="144"/>
                  <a:pt x="24" y="144"/>
                </a:cubicBezTo>
                <a:cubicBezTo>
                  <a:pt x="18" y="133"/>
                  <a:pt x="14" y="120"/>
                  <a:pt x="13" y="107"/>
                </a:cubicBezTo>
                <a:lnTo>
                  <a:pt x="38" y="107"/>
                </a:lnTo>
                <a:close/>
                <a:moveTo>
                  <a:pt x="24" y="57"/>
                </a:moveTo>
                <a:cubicBezTo>
                  <a:pt x="44" y="57"/>
                  <a:pt x="44" y="57"/>
                  <a:pt x="44" y="57"/>
                </a:cubicBezTo>
                <a:cubicBezTo>
                  <a:pt x="41" y="68"/>
                  <a:pt x="39" y="81"/>
                  <a:pt x="38" y="94"/>
                </a:cubicBezTo>
                <a:cubicBezTo>
                  <a:pt x="13" y="94"/>
                  <a:pt x="13" y="94"/>
                  <a:pt x="13" y="94"/>
                </a:cubicBezTo>
                <a:cubicBezTo>
                  <a:pt x="14" y="80"/>
                  <a:pt x="18" y="68"/>
                  <a:pt x="24" y="57"/>
                </a:cubicBezTo>
                <a:close/>
                <a:moveTo>
                  <a:pt x="62" y="22"/>
                </a:moveTo>
                <a:cubicBezTo>
                  <a:pt x="57" y="28"/>
                  <a:pt x="52" y="36"/>
                  <a:pt x="49" y="44"/>
                </a:cubicBezTo>
                <a:cubicBezTo>
                  <a:pt x="33" y="44"/>
                  <a:pt x="33" y="44"/>
                  <a:pt x="33" y="44"/>
                </a:cubicBezTo>
                <a:cubicBezTo>
                  <a:pt x="41" y="35"/>
                  <a:pt x="51" y="27"/>
                  <a:pt x="62" y="22"/>
                </a:cubicBezTo>
                <a:close/>
                <a:moveTo>
                  <a:pt x="167" y="44"/>
                </a:moveTo>
                <a:cubicBezTo>
                  <a:pt x="151" y="44"/>
                  <a:pt x="151" y="44"/>
                  <a:pt x="151" y="44"/>
                </a:cubicBezTo>
                <a:cubicBezTo>
                  <a:pt x="148" y="36"/>
                  <a:pt x="143" y="28"/>
                  <a:pt x="138" y="22"/>
                </a:cubicBezTo>
                <a:cubicBezTo>
                  <a:pt x="149" y="27"/>
                  <a:pt x="159" y="35"/>
                  <a:pt x="167" y="44"/>
                </a:cubicBezTo>
                <a:close/>
                <a:moveTo>
                  <a:pt x="106" y="94"/>
                </a:moveTo>
                <a:cubicBezTo>
                  <a:pt x="106" y="57"/>
                  <a:pt x="106" y="57"/>
                  <a:pt x="106" y="57"/>
                </a:cubicBezTo>
                <a:cubicBezTo>
                  <a:pt x="143" y="57"/>
                  <a:pt x="143" y="57"/>
                  <a:pt x="143" y="57"/>
                </a:cubicBezTo>
                <a:cubicBezTo>
                  <a:pt x="146" y="68"/>
                  <a:pt x="149" y="81"/>
                  <a:pt x="149" y="94"/>
                </a:cubicBezTo>
                <a:lnTo>
                  <a:pt x="106" y="94"/>
                </a:lnTo>
                <a:close/>
                <a:moveTo>
                  <a:pt x="106" y="18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38" y="157"/>
                  <a:pt x="138" y="157"/>
                  <a:pt x="138" y="157"/>
                </a:cubicBezTo>
                <a:cubicBezTo>
                  <a:pt x="130" y="173"/>
                  <a:pt x="119" y="184"/>
                  <a:pt x="106" y="187"/>
                </a:cubicBezTo>
                <a:close/>
                <a:moveTo>
                  <a:pt x="94" y="157"/>
                </a:moveTo>
                <a:cubicBezTo>
                  <a:pt x="94" y="187"/>
                  <a:pt x="94" y="187"/>
                  <a:pt x="94" y="187"/>
                </a:cubicBezTo>
                <a:cubicBezTo>
                  <a:pt x="81" y="184"/>
                  <a:pt x="70" y="173"/>
                  <a:pt x="63" y="157"/>
                </a:cubicBezTo>
                <a:lnTo>
                  <a:pt x="94" y="157"/>
                </a:lnTo>
                <a:close/>
                <a:moveTo>
                  <a:pt x="94" y="14"/>
                </a:moveTo>
                <a:cubicBezTo>
                  <a:pt x="94" y="44"/>
                  <a:pt x="94" y="44"/>
                  <a:pt x="94" y="44"/>
                </a:cubicBezTo>
                <a:cubicBezTo>
                  <a:pt x="63" y="44"/>
                  <a:pt x="63" y="44"/>
                  <a:pt x="63" y="44"/>
                </a:cubicBezTo>
                <a:cubicBezTo>
                  <a:pt x="70" y="28"/>
                  <a:pt x="81" y="17"/>
                  <a:pt x="94" y="14"/>
                </a:cubicBezTo>
                <a:close/>
                <a:moveTo>
                  <a:pt x="106" y="14"/>
                </a:moveTo>
                <a:cubicBezTo>
                  <a:pt x="119" y="17"/>
                  <a:pt x="130" y="28"/>
                  <a:pt x="138" y="44"/>
                </a:cubicBezTo>
                <a:cubicBezTo>
                  <a:pt x="106" y="44"/>
                  <a:pt x="106" y="44"/>
                  <a:pt x="106" y="44"/>
                </a:cubicBezTo>
                <a:lnTo>
                  <a:pt x="106" y="14"/>
                </a:lnTo>
                <a:close/>
                <a:moveTo>
                  <a:pt x="57" y="57"/>
                </a:moveTo>
                <a:cubicBezTo>
                  <a:pt x="94" y="57"/>
                  <a:pt x="94" y="57"/>
                  <a:pt x="94" y="57"/>
                </a:cubicBezTo>
                <a:cubicBezTo>
                  <a:pt x="94" y="94"/>
                  <a:pt x="94" y="94"/>
                  <a:pt x="94" y="94"/>
                </a:cubicBezTo>
                <a:cubicBezTo>
                  <a:pt x="51" y="94"/>
                  <a:pt x="51" y="94"/>
                  <a:pt x="51" y="94"/>
                </a:cubicBezTo>
                <a:cubicBezTo>
                  <a:pt x="51" y="81"/>
                  <a:pt x="54" y="68"/>
                  <a:pt x="57" y="57"/>
                </a:cubicBezTo>
                <a:close/>
                <a:moveTo>
                  <a:pt x="51" y="107"/>
                </a:moveTo>
                <a:cubicBezTo>
                  <a:pt x="94" y="107"/>
                  <a:pt x="94" y="107"/>
                  <a:pt x="94" y="107"/>
                </a:cubicBezTo>
                <a:cubicBezTo>
                  <a:pt x="94" y="144"/>
                  <a:pt x="94" y="144"/>
                  <a:pt x="94" y="144"/>
                </a:cubicBezTo>
                <a:cubicBezTo>
                  <a:pt x="57" y="144"/>
                  <a:pt x="57" y="144"/>
                  <a:pt x="57" y="144"/>
                </a:cubicBezTo>
                <a:cubicBezTo>
                  <a:pt x="54" y="133"/>
                  <a:pt x="51" y="120"/>
                  <a:pt x="51" y="107"/>
                </a:cubicBezTo>
                <a:close/>
                <a:moveTo>
                  <a:pt x="143" y="144"/>
                </a:moveTo>
                <a:cubicBezTo>
                  <a:pt x="106" y="144"/>
                  <a:pt x="106" y="144"/>
                  <a:pt x="106" y="144"/>
                </a:cubicBezTo>
                <a:cubicBezTo>
                  <a:pt x="106" y="107"/>
                  <a:pt x="106" y="107"/>
                  <a:pt x="106" y="107"/>
                </a:cubicBezTo>
                <a:cubicBezTo>
                  <a:pt x="149" y="107"/>
                  <a:pt x="149" y="107"/>
                  <a:pt x="149" y="107"/>
                </a:cubicBezTo>
                <a:cubicBezTo>
                  <a:pt x="149" y="120"/>
                  <a:pt x="146" y="133"/>
                  <a:pt x="143" y="144"/>
                </a:cubicBezTo>
                <a:close/>
                <a:moveTo>
                  <a:pt x="162" y="94"/>
                </a:moveTo>
                <a:cubicBezTo>
                  <a:pt x="161" y="81"/>
                  <a:pt x="159" y="68"/>
                  <a:pt x="156" y="57"/>
                </a:cubicBezTo>
                <a:cubicBezTo>
                  <a:pt x="176" y="57"/>
                  <a:pt x="176" y="57"/>
                  <a:pt x="176" y="57"/>
                </a:cubicBezTo>
                <a:cubicBezTo>
                  <a:pt x="182" y="68"/>
                  <a:pt x="186" y="80"/>
                  <a:pt x="187" y="94"/>
                </a:cubicBezTo>
                <a:lnTo>
                  <a:pt x="162" y="94"/>
                </a:lnTo>
                <a:close/>
                <a:moveTo>
                  <a:pt x="100" y="0"/>
                </a:moveTo>
                <a:cubicBezTo>
                  <a:pt x="45" y="0"/>
                  <a:pt x="0" y="45"/>
                  <a:pt x="0" y="100"/>
                </a:cubicBezTo>
                <a:cubicBezTo>
                  <a:pt x="0" y="156"/>
                  <a:pt x="45" y="200"/>
                  <a:pt x="100" y="200"/>
                </a:cubicBezTo>
                <a:cubicBezTo>
                  <a:pt x="155" y="200"/>
                  <a:pt x="200" y="156"/>
                  <a:pt x="200" y="100"/>
                </a:cubicBezTo>
                <a:cubicBezTo>
                  <a:pt x="200" y="45"/>
                  <a:pt x="155" y="0"/>
                  <a:pt x="100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39" name="Freeform 79">
            <a:extLst>
              <a:ext uri="{FF2B5EF4-FFF2-40B4-BE49-F238E27FC236}">
                <a16:creationId xmlns:a16="http://schemas.microsoft.com/office/drawing/2014/main" id="{EFCD938C-E8A5-7BF5-C87C-962355643C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111542" y="4250680"/>
            <a:ext cx="463682" cy="488951"/>
          </a:xfrm>
          <a:custGeom>
            <a:avLst/>
            <a:gdLst>
              <a:gd name="T0" fmla="*/ 144 w 204"/>
              <a:gd name="T1" fmla="*/ 101 h 204"/>
              <a:gd name="T2" fmla="*/ 115 w 204"/>
              <a:gd name="T3" fmla="*/ 133 h 204"/>
              <a:gd name="T4" fmla="*/ 146 w 204"/>
              <a:gd name="T5" fmla="*/ 161 h 204"/>
              <a:gd name="T6" fmla="*/ 147 w 204"/>
              <a:gd name="T7" fmla="*/ 161 h 204"/>
              <a:gd name="T8" fmla="*/ 176 w 204"/>
              <a:gd name="T9" fmla="*/ 129 h 204"/>
              <a:gd name="T10" fmla="*/ 144 w 204"/>
              <a:gd name="T11" fmla="*/ 101 h 204"/>
              <a:gd name="T12" fmla="*/ 147 w 204"/>
              <a:gd name="T13" fmla="*/ 149 h 204"/>
              <a:gd name="T14" fmla="*/ 128 w 204"/>
              <a:gd name="T15" fmla="*/ 132 h 204"/>
              <a:gd name="T16" fmla="*/ 145 w 204"/>
              <a:gd name="T17" fmla="*/ 113 h 204"/>
              <a:gd name="T18" fmla="*/ 163 w 204"/>
              <a:gd name="T19" fmla="*/ 130 h 204"/>
              <a:gd name="T20" fmla="*/ 147 w 204"/>
              <a:gd name="T21" fmla="*/ 149 h 204"/>
              <a:gd name="T22" fmla="*/ 67 w 204"/>
              <a:gd name="T23" fmla="*/ 58 h 204"/>
              <a:gd name="T24" fmla="*/ 29 w 204"/>
              <a:gd name="T25" fmla="*/ 102 h 204"/>
              <a:gd name="T26" fmla="*/ 70 w 204"/>
              <a:gd name="T27" fmla="*/ 140 h 204"/>
              <a:gd name="T28" fmla="*/ 72 w 204"/>
              <a:gd name="T29" fmla="*/ 140 h 204"/>
              <a:gd name="T30" fmla="*/ 100 w 204"/>
              <a:gd name="T31" fmla="*/ 127 h 204"/>
              <a:gd name="T32" fmla="*/ 111 w 204"/>
              <a:gd name="T33" fmla="*/ 97 h 204"/>
              <a:gd name="T34" fmla="*/ 67 w 204"/>
              <a:gd name="T35" fmla="*/ 58 h 204"/>
              <a:gd name="T36" fmla="*/ 91 w 204"/>
              <a:gd name="T37" fmla="*/ 118 h 204"/>
              <a:gd name="T38" fmla="*/ 71 w 204"/>
              <a:gd name="T39" fmla="*/ 128 h 204"/>
              <a:gd name="T40" fmla="*/ 41 w 204"/>
              <a:gd name="T41" fmla="*/ 101 h 204"/>
              <a:gd name="T42" fmla="*/ 68 w 204"/>
              <a:gd name="T43" fmla="*/ 71 h 204"/>
              <a:gd name="T44" fmla="*/ 98 w 204"/>
              <a:gd name="T45" fmla="*/ 98 h 204"/>
              <a:gd name="T46" fmla="*/ 91 w 204"/>
              <a:gd name="T47" fmla="*/ 118 h 204"/>
              <a:gd name="T48" fmla="*/ 139 w 204"/>
              <a:gd name="T49" fmla="*/ 89 h 204"/>
              <a:gd name="T50" fmla="*/ 140 w 204"/>
              <a:gd name="T51" fmla="*/ 89 h 204"/>
              <a:gd name="T52" fmla="*/ 157 w 204"/>
              <a:gd name="T53" fmla="*/ 81 h 204"/>
              <a:gd name="T54" fmla="*/ 163 w 204"/>
              <a:gd name="T55" fmla="*/ 63 h 204"/>
              <a:gd name="T56" fmla="*/ 155 w 204"/>
              <a:gd name="T57" fmla="*/ 46 h 204"/>
              <a:gd name="T58" fmla="*/ 137 w 204"/>
              <a:gd name="T59" fmla="*/ 40 h 204"/>
              <a:gd name="T60" fmla="*/ 120 w 204"/>
              <a:gd name="T61" fmla="*/ 48 h 204"/>
              <a:gd name="T62" fmla="*/ 114 w 204"/>
              <a:gd name="T63" fmla="*/ 66 h 204"/>
              <a:gd name="T64" fmla="*/ 139 w 204"/>
              <a:gd name="T65" fmla="*/ 89 h 204"/>
              <a:gd name="T66" fmla="*/ 130 w 204"/>
              <a:gd name="T67" fmla="*/ 57 h 204"/>
              <a:gd name="T68" fmla="*/ 138 w 204"/>
              <a:gd name="T69" fmla="*/ 53 h 204"/>
              <a:gd name="T70" fmla="*/ 147 w 204"/>
              <a:gd name="T71" fmla="*/ 56 h 204"/>
              <a:gd name="T72" fmla="*/ 151 w 204"/>
              <a:gd name="T73" fmla="*/ 64 h 204"/>
              <a:gd name="T74" fmla="*/ 148 w 204"/>
              <a:gd name="T75" fmla="*/ 73 h 204"/>
              <a:gd name="T76" fmla="*/ 139 w 204"/>
              <a:gd name="T77" fmla="*/ 77 h 204"/>
              <a:gd name="T78" fmla="*/ 131 w 204"/>
              <a:gd name="T79" fmla="*/ 74 h 204"/>
              <a:gd name="T80" fmla="*/ 127 w 204"/>
              <a:gd name="T81" fmla="*/ 65 h 204"/>
              <a:gd name="T82" fmla="*/ 130 w 204"/>
              <a:gd name="T83" fmla="*/ 57 h 204"/>
              <a:gd name="T84" fmla="*/ 187 w 204"/>
              <a:gd name="T85" fmla="*/ 0 h 204"/>
              <a:gd name="T86" fmla="*/ 12 w 204"/>
              <a:gd name="T87" fmla="*/ 3 h 204"/>
              <a:gd name="T88" fmla="*/ 0 w 204"/>
              <a:gd name="T89" fmla="*/ 16 h 204"/>
              <a:gd name="T90" fmla="*/ 4 w 204"/>
              <a:gd name="T91" fmla="*/ 191 h 204"/>
              <a:gd name="T92" fmla="*/ 17 w 204"/>
              <a:gd name="T93" fmla="*/ 203 h 204"/>
              <a:gd name="T94" fmla="*/ 192 w 204"/>
              <a:gd name="T95" fmla="*/ 200 h 204"/>
              <a:gd name="T96" fmla="*/ 204 w 204"/>
              <a:gd name="T97" fmla="*/ 187 h 204"/>
              <a:gd name="T98" fmla="*/ 200 w 204"/>
              <a:gd name="T99" fmla="*/ 12 h 204"/>
              <a:gd name="T100" fmla="*/ 187 w 204"/>
              <a:gd name="T101" fmla="*/ 0 h 204"/>
              <a:gd name="T102" fmla="*/ 191 w 204"/>
              <a:gd name="T103" fmla="*/ 187 h 204"/>
              <a:gd name="T104" fmla="*/ 16 w 204"/>
              <a:gd name="T105" fmla="*/ 191 h 204"/>
              <a:gd name="T106" fmla="*/ 13 w 204"/>
              <a:gd name="T107" fmla="*/ 16 h 204"/>
              <a:gd name="T108" fmla="*/ 188 w 204"/>
              <a:gd name="T109" fmla="*/ 12 h 204"/>
              <a:gd name="T110" fmla="*/ 191 w 204"/>
              <a:gd name="T111" fmla="*/ 187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04" h="204">
                <a:moveTo>
                  <a:pt x="144" y="101"/>
                </a:moveTo>
                <a:cubicBezTo>
                  <a:pt x="127" y="102"/>
                  <a:pt x="115" y="116"/>
                  <a:pt x="115" y="133"/>
                </a:cubicBezTo>
                <a:cubicBezTo>
                  <a:pt x="116" y="149"/>
                  <a:pt x="130" y="162"/>
                  <a:pt x="146" y="161"/>
                </a:cubicBezTo>
                <a:cubicBezTo>
                  <a:pt x="147" y="161"/>
                  <a:pt x="147" y="161"/>
                  <a:pt x="147" y="161"/>
                </a:cubicBezTo>
                <a:cubicBezTo>
                  <a:pt x="164" y="160"/>
                  <a:pt x="177" y="146"/>
                  <a:pt x="176" y="129"/>
                </a:cubicBezTo>
                <a:cubicBezTo>
                  <a:pt x="175" y="113"/>
                  <a:pt x="161" y="100"/>
                  <a:pt x="144" y="101"/>
                </a:cubicBezTo>
                <a:close/>
                <a:moveTo>
                  <a:pt x="147" y="149"/>
                </a:moveTo>
                <a:cubicBezTo>
                  <a:pt x="137" y="149"/>
                  <a:pt x="129" y="142"/>
                  <a:pt x="128" y="132"/>
                </a:cubicBezTo>
                <a:cubicBezTo>
                  <a:pt x="127" y="122"/>
                  <a:pt x="135" y="114"/>
                  <a:pt x="145" y="113"/>
                </a:cubicBezTo>
                <a:cubicBezTo>
                  <a:pt x="154" y="113"/>
                  <a:pt x="163" y="120"/>
                  <a:pt x="163" y="130"/>
                </a:cubicBezTo>
                <a:cubicBezTo>
                  <a:pt x="164" y="140"/>
                  <a:pt x="156" y="148"/>
                  <a:pt x="147" y="149"/>
                </a:cubicBezTo>
                <a:close/>
                <a:moveTo>
                  <a:pt x="67" y="58"/>
                </a:moveTo>
                <a:cubicBezTo>
                  <a:pt x="45" y="60"/>
                  <a:pt x="27" y="79"/>
                  <a:pt x="29" y="102"/>
                </a:cubicBezTo>
                <a:cubicBezTo>
                  <a:pt x="30" y="124"/>
                  <a:pt x="49" y="141"/>
                  <a:pt x="70" y="140"/>
                </a:cubicBezTo>
                <a:cubicBezTo>
                  <a:pt x="71" y="140"/>
                  <a:pt x="71" y="140"/>
                  <a:pt x="72" y="140"/>
                </a:cubicBezTo>
                <a:cubicBezTo>
                  <a:pt x="83" y="140"/>
                  <a:pt x="93" y="135"/>
                  <a:pt x="100" y="127"/>
                </a:cubicBezTo>
                <a:cubicBezTo>
                  <a:pt x="107" y="118"/>
                  <a:pt x="111" y="108"/>
                  <a:pt x="111" y="97"/>
                </a:cubicBezTo>
                <a:cubicBezTo>
                  <a:pt x="109" y="74"/>
                  <a:pt x="90" y="57"/>
                  <a:pt x="67" y="58"/>
                </a:cubicBezTo>
                <a:close/>
                <a:moveTo>
                  <a:pt x="91" y="118"/>
                </a:moveTo>
                <a:cubicBezTo>
                  <a:pt x="86" y="124"/>
                  <a:pt x="79" y="127"/>
                  <a:pt x="71" y="128"/>
                </a:cubicBezTo>
                <a:cubicBezTo>
                  <a:pt x="56" y="129"/>
                  <a:pt x="42" y="117"/>
                  <a:pt x="41" y="101"/>
                </a:cubicBezTo>
                <a:cubicBezTo>
                  <a:pt x="40" y="85"/>
                  <a:pt x="52" y="72"/>
                  <a:pt x="68" y="71"/>
                </a:cubicBezTo>
                <a:cubicBezTo>
                  <a:pt x="83" y="70"/>
                  <a:pt x="97" y="82"/>
                  <a:pt x="98" y="98"/>
                </a:cubicBezTo>
                <a:cubicBezTo>
                  <a:pt x="98" y="105"/>
                  <a:pt x="96" y="113"/>
                  <a:pt x="91" y="118"/>
                </a:cubicBezTo>
                <a:close/>
                <a:moveTo>
                  <a:pt x="139" y="89"/>
                </a:moveTo>
                <a:cubicBezTo>
                  <a:pt x="139" y="89"/>
                  <a:pt x="140" y="89"/>
                  <a:pt x="140" y="89"/>
                </a:cubicBezTo>
                <a:cubicBezTo>
                  <a:pt x="147" y="89"/>
                  <a:pt x="153" y="86"/>
                  <a:pt x="157" y="81"/>
                </a:cubicBezTo>
                <a:cubicBezTo>
                  <a:pt x="161" y="76"/>
                  <a:pt x="164" y="70"/>
                  <a:pt x="163" y="63"/>
                </a:cubicBezTo>
                <a:cubicBezTo>
                  <a:pt x="163" y="57"/>
                  <a:pt x="160" y="51"/>
                  <a:pt x="155" y="46"/>
                </a:cubicBezTo>
                <a:cubicBezTo>
                  <a:pt x="150" y="42"/>
                  <a:pt x="144" y="40"/>
                  <a:pt x="137" y="40"/>
                </a:cubicBezTo>
                <a:cubicBezTo>
                  <a:pt x="131" y="41"/>
                  <a:pt x="125" y="43"/>
                  <a:pt x="120" y="48"/>
                </a:cubicBezTo>
                <a:cubicBezTo>
                  <a:pt x="116" y="53"/>
                  <a:pt x="114" y="60"/>
                  <a:pt x="114" y="66"/>
                </a:cubicBezTo>
                <a:cubicBezTo>
                  <a:pt x="115" y="79"/>
                  <a:pt x="126" y="90"/>
                  <a:pt x="139" y="89"/>
                </a:cubicBezTo>
                <a:close/>
                <a:moveTo>
                  <a:pt x="130" y="57"/>
                </a:moveTo>
                <a:cubicBezTo>
                  <a:pt x="132" y="54"/>
                  <a:pt x="135" y="53"/>
                  <a:pt x="138" y="53"/>
                </a:cubicBezTo>
                <a:cubicBezTo>
                  <a:pt x="141" y="52"/>
                  <a:pt x="144" y="54"/>
                  <a:pt x="147" y="56"/>
                </a:cubicBezTo>
                <a:cubicBezTo>
                  <a:pt x="149" y="58"/>
                  <a:pt x="150" y="61"/>
                  <a:pt x="151" y="64"/>
                </a:cubicBezTo>
                <a:cubicBezTo>
                  <a:pt x="151" y="67"/>
                  <a:pt x="150" y="70"/>
                  <a:pt x="148" y="73"/>
                </a:cubicBezTo>
                <a:cubicBezTo>
                  <a:pt x="145" y="75"/>
                  <a:pt x="143" y="77"/>
                  <a:pt x="139" y="77"/>
                </a:cubicBezTo>
                <a:cubicBezTo>
                  <a:pt x="136" y="77"/>
                  <a:pt x="133" y="76"/>
                  <a:pt x="131" y="74"/>
                </a:cubicBezTo>
                <a:cubicBezTo>
                  <a:pt x="128" y="72"/>
                  <a:pt x="127" y="69"/>
                  <a:pt x="127" y="65"/>
                </a:cubicBezTo>
                <a:cubicBezTo>
                  <a:pt x="126" y="62"/>
                  <a:pt x="127" y="59"/>
                  <a:pt x="130" y="57"/>
                </a:cubicBezTo>
                <a:close/>
                <a:moveTo>
                  <a:pt x="187" y="0"/>
                </a:moveTo>
                <a:cubicBezTo>
                  <a:pt x="12" y="3"/>
                  <a:pt x="12" y="3"/>
                  <a:pt x="12" y="3"/>
                </a:cubicBezTo>
                <a:cubicBezTo>
                  <a:pt x="5" y="4"/>
                  <a:pt x="0" y="9"/>
                  <a:pt x="0" y="16"/>
                </a:cubicBezTo>
                <a:cubicBezTo>
                  <a:pt x="4" y="191"/>
                  <a:pt x="4" y="191"/>
                  <a:pt x="4" y="191"/>
                </a:cubicBezTo>
                <a:cubicBezTo>
                  <a:pt x="4" y="198"/>
                  <a:pt x="10" y="204"/>
                  <a:pt x="17" y="203"/>
                </a:cubicBezTo>
                <a:cubicBezTo>
                  <a:pt x="192" y="200"/>
                  <a:pt x="192" y="200"/>
                  <a:pt x="192" y="200"/>
                </a:cubicBezTo>
                <a:cubicBezTo>
                  <a:pt x="199" y="200"/>
                  <a:pt x="204" y="194"/>
                  <a:pt x="204" y="187"/>
                </a:cubicBezTo>
                <a:cubicBezTo>
                  <a:pt x="200" y="12"/>
                  <a:pt x="200" y="12"/>
                  <a:pt x="200" y="12"/>
                </a:cubicBezTo>
                <a:cubicBezTo>
                  <a:pt x="200" y="5"/>
                  <a:pt x="194" y="0"/>
                  <a:pt x="187" y="0"/>
                </a:cubicBezTo>
                <a:close/>
                <a:moveTo>
                  <a:pt x="191" y="187"/>
                </a:moveTo>
                <a:cubicBezTo>
                  <a:pt x="16" y="191"/>
                  <a:pt x="16" y="191"/>
                  <a:pt x="16" y="191"/>
                </a:cubicBezTo>
                <a:cubicBezTo>
                  <a:pt x="13" y="16"/>
                  <a:pt x="13" y="16"/>
                  <a:pt x="13" y="16"/>
                </a:cubicBezTo>
                <a:cubicBezTo>
                  <a:pt x="188" y="12"/>
                  <a:pt x="188" y="12"/>
                  <a:pt x="188" y="12"/>
                </a:cubicBezTo>
                <a:lnTo>
                  <a:pt x="191" y="1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40" name="Freeform 55">
            <a:extLst>
              <a:ext uri="{FF2B5EF4-FFF2-40B4-BE49-F238E27FC236}">
                <a16:creationId xmlns:a16="http://schemas.microsoft.com/office/drawing/2014/main" id="{B53CF375-6E5A-4E5B-5F7F-24CD5E1B2F2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77291" y="4260482"/>
            <a:ext cx="454648" cy="479425"/>
          </a:xfrm>
          <a:custGeom>
            <a:avLst/>
            <a:gdLst>
              <a:gd name="T0" fmla="*/ 175 w 200"/>
              <a:gd name="T1" fmla="*/ 188 h 200"/>
              <a:gd name="T2" fmla="*/ 175 w 200"/>
              <a:gd name="T3" fmla="*/ 50 h 200"/>
              <a:gd name="T4" fmla="*/ 162 w 200"/>
              <a:gd name="T5" fmla="*/ 38 h 200"/>
              <a:gd name="T6" fmla="*/ 137 w 200"/>
              <a:gd name="T7" fmla="*/ 38 h 200"/>
              <a:gd name="T8" fmla="*/ 137 w 200"/>
              <a:gd name="T9" fmla="*/ 13 h 200"/>
              <a:gd name="T10" fmla="*/ 125 w 200"/>
              <a:gd name="T11" fmla="*/ 0 h 200"/>
              <a:gd name="T12" fmla="*/ 37 w 200"/>
              <a:gd name="T13" fmla="*/ 0 h 200"/>
              <a:gd name="T14" fmla="*/ 25 w 200"/>
              <a:gd name="T15" fmla="*/ 13 h 200"/>
              <a:gd name="T16" fmla="*/ 25 w 200"/>
              <a:gd name="T17" fmla="*/ 188 h 200"/>
              <a:gd name="T18" fmla="*/ 0 w 200"/>
              <a:gd name="T19" fmla="*/ 188 h 200"/>
              <a:gd name="T20" fmla="*/ 0 w 200"/>
              <a:gd name="T21" fmla="*/ 200 h 200"/>
              <a:gd name="T22" fmla="*/ 200 w 200"/>
              <a:gd name="T23" fmla="*/ 200 h 200"/>
              <a:gd name="T24" fmla="*/ 200 w 200"/>
              <a:gd name="T25" fmla="*/ 188 h 200"/>
              <a:gd name="T26" fmla="*/ 175 w 200"/>
              <a:gd name="T27" fmla="*/ 188 h 200"/>
              <a:gd name="T28" fmla="*/ 162 w 200"/>
              <a:gd name="T29" fmla="*/ 188 h 200"/>
              <a:gd name="T30" fmla="*/ 37 w 200"/>
              <a:gd name="T31" fmla="*/ 188 h 200"/>
              <a:gd name="T32" fmla="*/ 37 w 200"/>
              <a:gd name="T33" fmla="*/ 13 h 200"/>
              <a:gd name="T34" fmla="*/ 125 w 200"/>
              <a:gd name="T35" fmla="*/ 13 h 200"/>
              <a:gd name="T36" fmla="*/ 125 w 200"/>
              <a:gd name="T37" fmla="*/ 38 h 200"/>
              <a:gd name="T38" fmla="*/ 125 w 200"/>
              <a:gd name="T39" fmla="*/ 50 h 200"/>
              <a:gd name="T40" fmla="*/ 137 w 200"/>
              <a:gd name="T41" fmla="*/ 50 h 200"/>
              <a:gd name="T42" fmla="*/ 162 w 200"/>
              <a:gd name="T43" fmla="*/ 50 h 200"/>
              <a:gd name="T44" fmla="*/ 162 w 200"/>
              <a:gd name="T45" fmla="*/ 188 h 200"/>
              <a:gd name="T46" fmla="*/ 56 w 200"/>
              <a:gd name="T47" fmla="*/ 144 h 200"/>
              <a:gd name="T48" fmla="*/ 69 w 200"/>
              <a:gd name="T49" fmla="*/ 144 h 200"/>
              <a:gd name="T50" fmla="*/ 69 w 200"/>
              <a:gd name="T51" fmla="*/ 132 h 200"/>
              <a:gd name="T52" fmla="*/ 56 w 200"/>
              <a:gd name="T53" fmla="*/ 132 h 200"/>
              <a:gd name="T54" fmla="*/ 56 w 200"/>
              <a:gd name="T55" fmla="*/ 144 h 200"/>
              <a:gd name="T56" fmla="*/ 56 w 200"/>
              <a:gd name="T57" fmla="*/ 94 h 200"/>
              <a:gd name="T58" fmla="*/ 69 w 200"/>
              <a:gd name="T59" fmla="*/ 94 h 200"/>
              <a:gd name="T60" fmla="*/ 69 w 200"/>
              <a:gd name="T61" fmla="*/ 82 h 200"/>
              <a:gd name="T62" fmla="*/ 56 w 200"/>
              <a:gd name="T63" fmla="*/ 82 h 200"/>
              <a:gd name="T64" fmla="*/ 56 w 200"/>
              <a:gd name="T65" fmla="*/ 94 h 200"/>
              <a:gd name="T66" fmla="*/ 56 w 200"/>
              <a:gd name="T67" fmla="*/ 44 h 200"/>
              <a:gd name="T68" fmla="*/ 69 w 200"/>
              <a:gd name="T69" fmla="*/ 44 h 200"/>
              <a:gd name="T70" fmla="*/ 69 w 200"/>
              <a:gd name="T71" fmla="*/ 32 h 200"/>
              <a:gd name="T72" fmla="*/ 56 w 200"/>
              <a:gd name="T73" fmla="*/ 32 h 200"/>
              <a:gd name="T74" fmla="*/ 56 w 200"/>
              <a:gd name="T75" fmla="*/ 44 h 200"/>
              <a:gd name="T76" fmla="*/ 94 w 200"/>
              <a:gd name="T77" fmla="*/ 157 h 200"/>
              <a:gd name="T78" fmla="*/ 106 w 200"/>
              <a:gd name="T79" fmla="*/ 157 h 200"/>
              <a:gd name="T80" fmla="*/ 106 w 200"/>
              <a:gd name="T81" fmla="*/ 132 h 200"/>
              <a:gd name="T82" fmla="*/ 94 w 200"/>
              <a:gd name="T83" fmla="*/ 132 h 200"/>
              <a:gd name="T84" fmla="*/ 94 w 200"/>
              <a:gd name="T85" fmla="*/ 157 h 200"/>
              <a:gd name="T86" fmla="*/ 94 w 200"/>
              <a:gd name="T87" fmla="*/ 94 h 200"/>
              <a:gd name="T88" fmla="*/ 106 w 200"/>
              <a:gd name="T89" fmla="*/ 94 h 200"/>
              <a:gd name="T90" fmla="*/ 106 w 200"/>
              <a:gd name="T91" fmla="*/ 82 h 200"/>
              <a:gd name="T92" fmla="*/ 94 w 200"/>
              <a:gd name="T93" fmla="*/ 82 h 200"/>
              <a:gd name="T94" fmla="*/ 94 w 200"/>
              <a:gd name="T95" fmla="*/ 94 h 200"/>
              <a:gd name="T96" fmla="*/ 94 w 200"/>
              <a:gd name="T97" fmla="*/ 44 h 200"/>
              <a:gd name="T98" fmla="*/ 106 w 200"/>
              <a:gd name="T99" fmla="*/ 44 h 200"/>
              <a:gd name="T100" fmla="*/ 106 w 200"/>
              <a:gd name="T101" fmla="*/ 32 h 200"/>
              <a:gd name="T102" fmla="*/ 94 w 200"/>
              <a:gd name="T103" fmla="*/ 32 h 200"/>
              <a:gd name="T104" fmla="*/ 94 w 200"/>
              <a:gd name="T105" fmla="*/ 44 h 200"/>
              <a:gd name="T106" fmla="*/ 131 w 200"/>
              <a:gd name="T107" fmla="*/ 144 h 200"/>
              <a:gd name="T108" fmla="*/ 144 w 200"/>
              <a:gd name="T109" fmla="*/ 144 h 200"/>
              <a:gd name="T110" fmla="*/ 144 w 200"/>
              <a:gd name="T111" fmla="*/ 132 h 200"/>
              <a:gd name="T112" fmla="*/ 131 w 200"/>
              <a:gd name="T113" fmla="*/ 132 h 200"/>
              <a:gd name="T114" fmla="*/ 131 w 200"/>
              <a:gd name="T115" fmla="*/ 144 h 200"/>
              <a:gd name="T116" fmla="*/ 131 w 200"/>
              <a:gd name="T117" fmla="*/ 94 h 200"/>
              <a:gd name="T118" fmla="*/ 144 w 200"/>
              <a:gd name="T119" fmla="*/ 94 h 200"/>
              <a:gd name="T120" fmla="*/ 144 w 200"/>
              <a:gd name="T121" fmla="*/ 82 h 200"/>
              <a:gd name="T122" fmla="*/ 131 w 200"/>
              <a:gd name="T123" fmla="*/ 82 h 200"/>
              <a:gd name="T124" fmla="*/ 131 w 200"/>
              <a:gd name="T125" fmla="*/ 94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0" h="200">
                <a:moveTo>
                  <a:pt x="175" y="188"/>
                </a:moveTo>
                <a:cubicBezTo>
                  <a:pt x="175" y="50"/>
                  <a:pt x="175" y="50"/>
                  <a:pt x="175" y="50"/>
                </a:cubicBezTo>
                <a:cubicBezTo>
                  <a:pt x="175" y="44"/>
                  <a:pt x="169" y="38"/>
                  <a:pt x="162" y="38"/>
                </a:cubicBezTo>
                <a:cubicBezTo>
                  <a:pt x="137" y="38"/>
                  <a:pt x="137" y="38"/>
                  <a:pt x="137" y="38"/>
                </a:cubicBezTo>
                <a:cubicBezTo>
                  <a:pt x="137" y="13"/>
                  <a:pt x="137" y="13"/>
                  <a:pt x="137" y="13"/>
                </a:cubicBezTo>
                <a:cubicBezTo>
                  <a:pt x="137" y="6"/>
                  <a:pt x="132" y="0"/>
                  <a:pt x="125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1" y="0"/>
                  <a:pt x="25" y="6"/>
                  <a:pt x="25" y="13"/>
                </a:cubicBezTo>
                <a:cubicBezTo>
                  <a:pt x="25" y="188"/>
                  <a:pt x="25" y="188"/>
                  <a:pt x="25" y="188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200"/>
                  <a:pt x="0" y="200"/>
                  <a:pt x="0" y="200"/>
                </a:cubicBezTo>
                <a:cubicBezTo>
                  <a:pt x="200" y="200"/>
                  <a:pt x="200" y="200"/>
                  <a:pt x="200" y="200"/>
                </a:cubicBezTo>
                <a:cubicBezTo>
                  <a:pt x="200" y="188"/>
                  <a:pt x="200" y="188"/>
                  <a:pt x="200" y="188"/>
                </a:cubicBezTo>
                <a:lnTo>
                  <a:pt x="175" y="188"/>
                </a:lnTo>
                <a:close/>
                <a:moveTo>
                  <a:pt x="162" y="188"/>
                </a:moveTo>
                <a:cubicBezTo>
                  <a:pt x="37" y="188"/>
                  <a:pt x="37" y="188"/>
                  <a:pt x="37" y="188"/>
                </a:cubicBezTo>
                <a:cubicBezTo>
                  <a:pt x="37" y="13"/>
                  <a:pt x="37" y="13"/>
                  <a:pt x="37" y="13"/>
                </a:cubicBezTo>
                <a:cubicBezTo>
                  <a:pt x="125" y="13"/>
                  <a:pt x="125" y="13"/>
                  <a:pt x="125" y="13"/>
                </a:cubicBezTo>
                <a:cubicBezTo>
                  <a:pt x="125" y="38"/>
                  <a:pt x="125" y="38"/>
                  <a:pt x="125" y="38"/>
                </a:cubicBezTo>
                <a:cubicBezTo>
                  <a:pt x="125" y="50"/>
                  <a:pt x="125" y="50"/>
                  <a:pt x="125" y="50"/>
                </a:cubicBezTo>
                <a:cubicBezTo>
                  <a:pt x="137" y="50"/>
                  <a:pt x="137" y="50"/>
                  <a:pt x="137" y="50"/>
                </a:cubicBezTo>
                <a:cubicBezTo>
                  <a:pt x="162" y="50"/>
                  <a:pt x="162" y="50"/>
                  <a:pt x="162" y="50"/>
                </a:cubicBezTo>
                <a:lnTo>
                  <a:pt x="162" y="188"/>
                </a:lnTo>
                <a:close/>
                <a:moveTo>
                  <a:pt x="56" y="144"/>
                </a:moveTo>
                <a:cubicBezTo>
                  <a:pt x="69" y="144"/>
                  <a:pt x="69" y="144"/>
                  <a:pt x="69" y="144"/>
                </a:cubicBezTo>
                <a:cubicBezTo>
                  <a:pt x="69" y="132"/>
                  <a:pt x="69" y="132"/>
                  <a:pt x="69" y="132"/>
                </a:cubicBezTo>
                <a:cubicBezTo>
                  <a:pt x="56" y="132"/>
                  <a:pt x="56" y="132"/>
                  <a:pt x="56" y="132"/>
                </a:cubicBezTo>
                <a:lnTo>
                  <a:pt x="56" y="144"/>
                </a:lnTo>
                <a:close/>
                <a:moveTo>
                  <a:pt x="56" y="94"/>
                </a:moveTo>
                <a:cubicBezTo>
                  <a:pt x="69" y="94"/>
                  <a:pt x="69" y="94"/>
                  <a:pt x="69" y="94"/>
                </a:cubicBezTo>
                <a:cubicBezTo>
                  <a:pt x="69" y="82"/>
                  <a:pt x="69" y="82"/>
                  <a:pt x="69" y="82"/>
                </a:cubicBezTo>
                <a:cubicBezTo>
                  <a:pt x="56" y="82"/>
                  <a:pt x="56" y="82"/>
                  <a:pt x="56" y="82"/>
                </a:cubicBezTo>
                <a:lnTo>
                  <a:pt x="56" y="94"/>
                </a:lnTo>
                <a:close/>
                <a:moveTo>
                  <a:pt x="56" y="44"/>
                </a:moveTo>
                <a:cubicBezTo>
                  <a:pt x="69" y="44"/>
                  <a:pt x="69" y="44"/>
                  <a:pt x="69" y="44"/>
                </a:cubicBezTo>
                <a:cubicBezTo>
                  <a:pt x="69" y="32"/>
                  <a:pt x="69" y="32"/>
                  <a:pt x="69" y="32"/>
                </a:cubicBezTo>
                <a:cubicBezTo>
                  <a:pt x="56" y="32"/>
                  <a:pt x="56" y="32"/>
                  <a:pt x="56" y="32"/>
                </a:cubicBezTo>
                <a:lnTo>
                  <a:pt x="56" y="44"/>
                </a:lnTo>
                <a:close/>
                <a:moveTo>
                  <a:pt x="94" y="15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06" y="132"/>
                  <a:pt x="106" y="132"/>
                  <a:pt x="106" y="132"/>
                </a:cubicBezTo>
                <a:cubicBezTo>
                  <a:pt x="94" y="132"/>
                  <a:pt x="94" y="132"/>
                  <a:pt x="94" y="132"/>
                </a:cubicBezTo>
                <a:lnTo>
                  <a:pt x="94" y="157"/>
                </a:lnTo>
                <a:close/>
                <a:moveTo>
                  <a:pt x="94" y="94"/>
                </a:moveTo>
                <a:cubicBezTo>
                  <a:pt x="106" y="94"/>
                  <a:pt x="106" y="94"/>
                  <a:pt x="106" y="94"/>
                </a:cubicBezTo>
                <a:cubicBezTo>
                  <a:pt x="106" y="82"/>
                  <a:pt x="106" y="82"/>
                  <a:pt x="106" y="82"/>
                </a:cubicBezTo>
                <a:cubicBezTo>
                  <a:pt x="94" y="82"/>
                  <a:pt x="94" y="82"/>
                  <a:pt x="94" y="82"/>
                </a:cubicBezTo>
                <a:lnTo>
                  <a:pt x="94" y="94"/>
                </a:lnTo>
                <a:close/>
                <a:moveTo>
                  <a:pt x="94" y="44"/>
                </a:moveTo>
                <a:cubicBezTo>
                  <a:pt x="106" y="44"/>
                  <a:pt x="106" y="44"/>
                  <a:pt x="106" y="44"/>
                </a:cubicBezTo>
                <a:cubicBezTo>
                  <a:pt x="106" y="32"/>
                  <a:pt x="106" y="32"/>
                  <a:pt x="106" y="32"/>
                </a:cubicBezTo>
                <a:cubicBezTo>
                  <a:pt x="94" y="32"/>
                  <a:pt x="94" y="32"/>
                  <a:pt x="94" y="32"/>
                </a:cubicBezTo>
                <a:lnTo>
                  <a:pt x="94" y="44"/>
                </a:lnTo>
                <a:close/>
                <a:moveTo>
                  <a:pt x="131" y="144"/>
                </a:moveTo>
                <a:cubicBezTo>
                  <a:pt x="144" y="144"/>
                  <a:pt x="144" y="144"/>
                  <a:pt x="144" y="144"/>
                </a:cubicBezTo>
                <a:cubicBezTo>
                  <a:pt x="144" y="132"/>
                  <a:pt x="144" y="132"/>
                  <a:pt x="144" y="132"/>
                </a:cubicBezTo>
                <a:cubicBezTo>
                  <a:pt x="131" y="132"/>
                  <a:pt x="131" y="132"/>
                  <a:pt x="131" y="132"/>
                </a:cubicBezTo>
                <a:lnTo>
                  <a:pt x="131" y="144"/>
                </a:lnTo>
                <a:close/>
                <a:moveTo>
                  <a:pt x="131" y="94"/>
                </a:moveTo>
                <a:cubicBezTo>
                  <a:pt x="144" y="94"/>
                  <a:pt x="144" y="94"/>
                  <a:pt x="144" y="94"/>
                </a:cubicBezTo>
                <a:cubicBezTo>
                  <a:pt x="144" y="82"/>
                  <a:pt x="144" y="82"/>
                  <a:pt x="144" y="82"/>
                </a:cubicBezTo>
                <a:cubicBezTo>
                  <a:pt x="131" y="82"/>
                  <a:pt x="131" y="82"/>
                  <a:pt x="131" y="82"/>
                </a:cubicBezTo>
                <a:lnTo>
                  <a:pt x="131" y="9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41" name="Freeform 54">
            <a:extLst>
              <a:ext uri="{FF2B5EF4-FFF2-40B4-BE49-F238E27FC236}">
                <a16:creationId xmlns:a16="http://schemas.microsoft.com/office/drawing/2014/main" id="{60177913-9D3E-2BDD-FB90-F72632567FA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645896" y="4281263"/>
            <a:ext cx="454648" cy="479425"/>
          </a:xfrm>
          <a:custGeom>
            <a:avLst/>
            <a:gdLst>
              <a:gd name="T0" fmla="*/ 137 w 200"/>
              <a:gd name="T1" fmla="*/ 100 h 200"/>
              <a:gd name="T2" fmla="*/ 62 w 200"/>
              <a:gd name="T3" fmla="*/ 100 h 200"/>
              <a:gd name="T4" fmla="*/ 100 w 200"/>
              <a:gd name="T5" fmla="*/ 150 h 200"/>
              <a:gd name="T6" fmla="*/ 100 w 200"/>
              <a:gd name="T7" fmla="*/ 50 h 200"/>
              <a:gd name="T8" fmla="*/ 100 w 200"/>
              <a:gd name="T9" fmla="*/ 150 h 200"/>
              <a:gd name="T10" fmla="*/ 31 w 200"/>
              <a:gd name="T11" fmla="*/ 93 h 200"/>
              <a:gd name="T12" fmla="*/ 31 w 200"/>
              <a:gd name="T13" fmla="*/ 106 h 200"/>
              <a:gd name="T14" fmla="*/ 0 w 200"/>
              <a:gd name="T15" fmla="*/ 100 h 200"/>
              <a:gd name="T16" fmla="*/ 168 w 200"/>
              <a:gd name="T17" fmla="*/ 93 h 200"/>
              <a:gd name="T18" fmla="*/ 200 w 200"/>
              <a:gd name="T19" fmla="*/ 100 h 200"/>
              <a:gd name="T20" fmla="*/ 168 w 200"/>
              <a:gd name="T21" fmla="*/ 106 h 200"/>
              <a:gd name="T22" fmla="*/ 168 w 200"/>
              <a:gd name="T23" fmla="*/ 93 h 200"/>
              <a:gd name="T24" fmla="*/ 93 w 200"/>
              <a:gd name="T25" fmla="*/ 168 h 200"/>
              <a:gd name="T26" fmla="*/ 106 w 200"/>
              <a:gd name="T27" fmla="*/ 168 h 200"/>
              <a:gd name="T28" fmla="*/ 100 w 200"/>
              <a:gd name="T29" fmla="*/ 200 h 200"/>
              <a:gd name="T30" fmla="*/ 93 w 200"/>
              <a:gd name="T31" fmla="*/ 31 h 200"/>
              <a:gd name="T32" fmla="*/ 100 w 200"/>
              <a:gd name="T33" fmla="*/ 0 h 200"/>
              <a:gd name="T34" fmla="*/ 106 w 200"/>
              <a:gd name="T35" fmla="*/ 31 h 200"/>
              <a:gd name="T36" fmla="*/ 93 w 200"/>
              <a:gd name="T37" fmla="*/ 31 h 200"/>
              <a:gd name="T38" fmla="*/ 144 w 200"/>
              <a:gd name="T39" fmla="*/ 153 h 200"/>
              <a:gd name="T40" fmla="*/ 153 w 200"/>
              <a:gd name="T41" fmla="*/ 144 h 200"/>
              <a:gd name="T42" fmla="*/ 170 w 200"/>
              <a:gd name="T43" fmla="*/ 170 h 200"/>
              <a:gd name="T44" fmla="*/ 47 w 200"/>
              <a:gd name="T45" fmla="*/ 55 h 200"/>
              <a:gd name="T46" fmla="*/ 29 w 200"/>
              <a:gd name="T47" fmla="*/ 29 h 200"/>
              <a:gd name="T48" fmla="*/ 55 w 200"/>
              <a:gd name="T49" fmla="*/ 47 h 200"/>
              <a:gd name="T50" fmla="*/ 47 w 200"/>
              <a:gd name="T51" fmla="*/ 55 h 200"/>
              <a:gd name="T52" fmla="*/ 153 w 200"/>
              <a:gd name="T53" fmla="*/ 55 h 200"/>
              <a:gd name="T54" fmla="*/ 144 w 200"/>
              <a:gd name="T55" fmla="*/ 47 h 200"/>
              <a:gd name="T56" fmla="*/ 170 w 200"/>
              <a:gd name="T57" fmla="*/ 29 h 200"/>
              <a:gd name="T58" fmla="*/ 170 w 200"/>
              <a:gd name="T59" fmla="*/ 29 h 200"/>
              <a:gd name="T60" fmla="*/ 55 w 200"/>
              <a:gd name="T61" fmla="*/ 153 h 200"/>
              <a:gd name="T62" fmla="*/ 29 w 200"/>
              <a:gd name="T63" fmla="*/ 170 h 200"/>
              <a:gd name="T64" fmla="*/ 47 w 200"/>
              <a:gd name="T65" fmla="*/ 144 h 200"/>
              <a:gd name="T66" fmla="*/ 55 w 200"/>
              <a:gd name="T67" fmla="*/ 153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00" h="200">
                <a:moveTo>
                  <a:pt x="100" y="137"/>
                </a:moveTo>
                <a:cubicBezTo>
                  <a:pt x="120" y="137"/>
                  <a:pt x="137" y="120"/>
                  <a:pt x="137" y="100"/>
                </a:cubicBezTo>
                <a:cubicBezTo>
                  <a:pt x="137" y="79"/>
                  <a:pt x="120" y="62"/>
                  <a:pt x="100" y="62"/>
                </a:cubicBezTo>
                <a:cubicBezTo>
                  <a:pt x="79" y="62"/>
                  <a:pt x="62" y="79"/>
                  <a:pt x="62" y="100"/>
                </a:cubicBezTo>
                <a:cubicBezTo>
                  <a:pt x="62" y="120"/>
                  <a:pt x="79" y="137"/>
                  <a:pt x="100" y="137"/>
                </a:cubicBezTo>
                <a:close/>
                <a:moveTo>
                  <a:pt x="100" y="150"/>
                </a:moveTo>
                <a:cubicBezTo>
                  <a:pt x="72" y="150"/>
                  <a:pt x="50" y="127"/>
                  <a:pt x="50" y="100"/>
                </a:cubicBezTo>
                <a:cubicBezTo>
                  <a:pt x="50" y="72"/>
                  <a:pt x="72" y="50"/>
                  <a:pt x="100" y="50"/>
                </a:cubicBezTo>
                <a:cubicBezTo>
                  <a:pt x="127" y="50"/>
                  <a:pt x="150" y="72"/>
                  <a:pt x="150" y="100"/>
                </a:cubicBezTo>
                <a:cubicBezTo>
                  <a:pt x="150" y="127"/>
                  <a:pt x="127" y="150"/>
                  <a:pt x="100" y="150"/>
                </a:cubicBezTo>
                <a:close/>
                <a:moveTo>
                  <a:pt x="6" y="93"/>
                </a:moveTo>
                <a:cubicBezTo>
                  <a:pt x="31" y="93"/>
                  <a:pt x="31" y="93"/>
                  <a:pt x="31" y="93"/>
                </a:cubicBezTo>
                <a:cubicBezTo>
                  <a:pt x="34" y="93"/>
                  <a:pt x="37" y="96"/>
                  <a:pt x="37" y="100"/>
                </a:cubicBezTo>
                <a:cubicBezTo>
                  <a:pt x="37" y="103"/>
                  <a:pt x="34" y="106"/>
                  <a:pt x="31" y="106"/>
                </a:cubicBezTo>
                <a:cubicBezTo>
                  <a:pt x="6" y="106"/>
                  <a:pt x="6" y="106"/>
                  <a:pt x="6" y="106"/>
                </a:cubicBezTo>
                <a:cubicBezTo>
                  <a:pt x="2" y="106"/>
                  <a:pt x="0" y="103"/>
                  <a:pt x="0" y="100"/>
                </a:cubicBezTo>
                <a:cubicBezTo>
                  <a:pt x="0" y="96"/>
                  <a:pt x="2" y="93"/>
                  <a:pt x="6" y="93"/>
                </a:cubicBezTo>
                <a:close/>
                <a:moveTo>
                  <a:pt x="168" y="93"/>
                </a:moveTo>
                <a:cubicBezTo>
                  <a:pt x="193" y="93"/>
                  <a:pt x="193" y="93"/>
                  <a:pt x="193" y="93"/>
                </a:cubicBezTo>
                <a:cubicBezTo>
                  <a:pt x="197" y="93"/>
                  <a:pt x="200" y="96"/>
                  <a:pt x="200" y="100"/>
                </a:cubicBezTo>
                <a:cubicBezTo>
                  <a:pt x="200" y="103"/>
                  <a:pt x="197" y="106"/>
                  <a:pt x="193" y="106"/>
                </a:cubicBezTo>
                <a:cubicBezTo>
                  <a:pt x="168" y="106"/>
                  <a:pt x="168" y="106"/>
                  <a:pt x="168" y="106"/>
                </a:cubicBezTo>
                <a:cubicBezTo>
                  <a:pt x="165" y="106"/>
                  <a:pt x="162" y="103"/>
                  <a:pt x="162" y="100"/>
                </a:cubicBezTo>
                <a:cubicBezTo>
                  <a:pt x="162" y="96"/>
                  <a:pt x="165" y="93"/>
                  <a:pt x="168" y="93"/>
                </a:cubicBezTo>
                <a:close/>
                <a:moveTo>
                  <a:pt x="93" y="193"/>
                </a:moveTo>
                <a:cubicBezTo>
                  <a:pt x="93" y="168"/>
                  <a:pt x="93" y="168"/>
                  <a:pt x="93" y="168"/>
                </a:cubicBezTo>
                <a:cubicBezTo>
                  <a:pt x="93" y="165"/>
                  <a:pt x="96" y="162"/>
                  <a:pt x="100" y="162"/>
                </a:cubicBezTo>
                <a:cubicBezTo>
                  <a:pt x="103" y="162"/>
                  <a:pt x="106" y="165"/>
                  <a:pt x="106" y="168"/>
                </a:cubicBezTo>
                <a:cubicBezTo>
                  <a:pt x="106" y="193"/>
                  <a:pt x="106" y="193"/>
                  <a:pt x="106" y="193"/>
                </a:cubicBezTo>
                <a:cubicBezTo>
                  <a:pt x="106" y="197"/>
                  <a:pt x="103" y="200"/>
                  <a:pt x="100" y="200"/>
                </a:cubicBezTo>
                <a:cubicBezTo>
                  <a:pt x="96" y="200"/>
                  <a:pt x="93" y="197"/>
                  <a:pt x="93" y="193"/>
                </a:cubicBezTo>
                <a:close/>
                <a:moveTo>
                  <a:pt x="93" y="31"/>
                </a:moveTo>
                <a:cubicBezTo>
                  <a:pt x="93" y="6"/>
                  <a:pt x="93" y="6"/>
                  <a:pt x="93" y="6"/>
                </a:cubicBezTo>
                <a:cubicBezTo>
                  <a:pt x="93" y="2"/>
                  <a:pt x="96" y="0"/>
                  <a:pt x="100" y="0"/>
                </a:cubicBezTo>
                <a:cubicBezTo>
                  <a:pt x="103" y="0"/>
                  <a:pt x="106" y="2"/>
                  <a:pt x="106" y="6"/>
                </a:cubicBezTo>
                <a:cubicBezTo>
                  <a:pt x="106" y="31"/>
                  <a:pt x="106" y="31"/>
                  <a:pt x="106" y="31"/>
                </a:cubicBezTo>
                <a:cubicBezTo>
                  <a:pt x="106" y="34"/>
                  <a:pt x="103" y="37"/>
                  <a:pt x="100" y="37"/>
                </a:cubicBezTo>
                <a:cubicBezTo>
                  <a:pt x="96" y="37"/>
                  <a:pt x="93" y="34"/>
                  <a:pt x="93" y="31"/>
                </a:cubicBezTo>
                <a:close/>
                <a:moveTo>
                  <a:pt x="161" y="170"/>
                </a:moveTo>
                <a:cubicBezTo>
                  <a:pt x="144" y="153"/>
                  <a:pt x="144" y="153"/>
                  <a:pt x="144" y="153"/>
                </a:cubicBezTo>
                <a:cubicBezTo>
                  <a:pt x="141" y="150"/>
                  <a:pt x="141" y="146"/>
                  <a:pt x="144" y="144"/>
                </a:cubicBezTo>
                <a:cubicBezTo>
                  <a:pt x="146" y="141"/>
                  <a:pt x="150" y="141"/>
                  <a:pt x="153" y="144"/>
                </a:cubicBezTo>
                <a:cubicBezTo>
                  <a:pt x="170" y="161"/>
                  <a:pt x="170" y="161"/>
                  <a:pt x="170" y="161"/>
                </a:cubicBezTo>
                <a:cubicBezTo>
                  <a:pt x="173" y="164"/>
                  <a:pt x="173" y="168"/>
                  <a:pt x="170" y="170"/>
                </a:cubicBezTo>
                <a:cubicBezTo>
                  <a:pt x="168" y="173"/>
                  <a:pt x="164" y="173"/>
                  <a:pt x="161" y="170"/>
                </a:cubicBezTo>
                <a:close/>
                <a:moveTo>
                  <a:pt x="47" y="55"/>
                </a:moveTo>
                <a:cubicBezTo>
                  <a:pt x="29" y="38"/>
                  <a:pt x="29" y="38"/>
                  <a:pt x="29" y="38"/>
                </a:cubicBezTo>
                <a:cubicBezTo>
                  <a:pt x="26" y="35"/>
                  <a:pt x="26" y="31"/>
                  <a:pt x="29" y="29"/>
                </a:cubicBezTo>
                <a:cubicBezTo>
                  <a:pt x="31" y="26"/>
                  <a:pt x="35" y="26"/>
                  <a:pt x="38" y="29"/>
                </a:cubicBezTo>
                <a:cubicBezTo>
                  <a:pt x="55" y="47"/>
                  <a:pt x="55" y="47"/>
                  <a:pt x="55" y="47"/>
                </a:cubicBezTo>
                <a:cubicBezTo>
                  <a:pt x="58" y="49"/>
                  <a:pt x="58" y="53"/>
                  <a:pt x="55" y="55"/>
                </a:cubicBezTo>
                <a:cubicBezTo>
                  <a:pt x="53" y="58"/>
                  <a:pt x="49" y="58"/>
                  <a:pt x="47" y="55"/>
                </a:cubicBezTo>
                <a:close/>
                <a:moveTo>
                  <a:pt x="170" y="38"/>
                </a:moveTo>
                <a:cubicBezTo>
                  <a:pt x="153" y="55"/>
                  <a:pt x="153" y="55"/>
                  <a:pt x="153" y="55"/>
                </a:cubicBezTo>
                <a:cubicBezTo>
                  <a:pt x="150" y="58"/>
                  <a:pt x="146" y="58"/>
                  <a:pt x="144" y="55"/>
                </a:cubicBezTo>
                <a:cubicBezTo>
                  <a:pt x="141" y="53"/>
                  <a:pt x="141" y="49"/>
                  <a:pt x="144" y="47"/>
                </a:cubicBezTo>
                <a:cubicBezTo>
                  <a:pt x="161" y="29"/>
                  <a:pt x="161" y="29"/>
                  <a:pt x="161" y="29"/>
                </a:cubicBezTo>
                <a:cubicBezTo>
                  <a:pt x="164" y="26"/>
                  <a:pt x="168" y="26"/>
                  <a:pt x="170" y="29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0" y="29"/>
                  <a:pt x="170" y="29"/>
                  <a:pt x="170" y="29"/>
                </a:cubicBezTo>
                <a:cubicBezTo>
                  <a:pt x="173" y="31"/>
                  <a:pt x="173" y="35"/>
                  <a:pt x="170" y="38"/>
                </a:cubicBezTo>
                <a:close/>
                <a:moveTo>
                  <a:pt x="55" y="153"/>
                </a:moveTo>
                <a:cubicBezTo>
                  <a:pt x="38" y="170"/>
                  <a:pt x="38" y="170"/>
                  <a:pt x="38" y="170"/>
                </a:cubicBezTo>
                <a:cubicBezTo>
                  <a:pt x="35" y="173"/>
                  <a:pt x="31" y="173"/>
                  <a:pt x="29" y="170"/>
                </a:cubicBezTo>
                <a:cubicBezTo>
                  <a:pt x="26" y="168"/>
                  <a:pt x="26" y="164"/>
                  <a:pt x="29" y="161"/>
                </a:cubicBezTo>
                <a:cubicBezTo>
                  <a:pt x="47" y="144"/>
                  <a:pt x="47" y="144"/>
                  <a:pt x="47" y="144"/>
                </a:cubicBezTo>
                <a:cubicBezTo>
                  <a:pt x="49" y="141"/>
                  <a:pt x="53" y="141"/>
                  <a:pt x="55" y="144"/>
                </a:cubicBezTo>
                <a:cubicBezTo>
                  <a:pt x="58" y="146"/>
                  <a:pt x="58" y="150"/>
                  <a:pt x="55" y="15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277AC5A-BDAA-53E1-8575-C8E8E6FF96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5</a:t>
            </a:fld>
            <a:endParaRPr lang="en-US" sz="100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12990443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preview">
            <a:extLst>
              <a:ext uri="{FF2B5EF4-FFF2-40B4-BE49-F238E27FC236}">
                <a16:creationId xmlns:a16="http://schemas.microsoft.com/office/drawing/2014/main" id="{C0B0E2F0-71B4-0004-0330-8E52A1B5B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7"/>
          <a:stretch/>
        </p:blipFill>
        <p:spPr bwMode="auto">
          <a:xfrm>
            <a:off x="0" y="0"/>
            <a:ext cx="12191390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63DE4818-3761-A5D0-DB75-7C8CF129D6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3DE4818-3761-A5D0-DB75-7C8CF129D6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33B7E89F-FD5A-14B5-1E08-0FCE522272AD}"/>
              </a:ext>
            </a:extLst>
          </p:cNvPr>
          <p:cNvSpPr txBox="1"/>
          <p:nvPr/>
        </p:nvSpPr>
        <p:spPr>
          <a:xfrm>
            <a:off x="1186790" y="377103"/>
            <a:ext cx="981456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Font typeface="Arial" panose="020B0604020202020204" pitchFamily="34" charset="0"/>
              <a:buNone/>
            </a:pPr>
            <a:r>
              <a:rPr lang="en-IN" sz="2800" b="1" i="1" dirty="0">
                <a:solidFill>
                  <a:schemeClr val="bg1"/>
                </a:solidFill>
              </a:rPr>
              <a:t>Date</a:t>
            </a:r>
            <a:r>
              <a:rPr lang="en-IN" sz="2800" b="1" dirty="0">
                <a:solidFill>
                  <a:schemeClr val="bg1"/>
                </a:solidFill>
              </a:rPr>
              <a:t>: 1</a:t>
            </a:r>
            <a:r>
              <a:rPr lang="en-IN" sz="2800" b="1" baseline="30000" dirty="0">
                <a:solidFill>
                  <a:schemeClr val="bg1"/>
                </a:solidFill>
              </a:rPr>
              <a:t>st</a:t>
            </a:r>
            <a:r>
              <a:rPr lang="en-IN" sz="2800" b="1" dirty="0">
                <a:solidFill>
                  <a:schemeClr val="bg1"/>
                </a:solidFill>
              </a:rPr>
              <a:t> – 3</a:t>
            </a:r>
            <a:r>
              <a:rPr lang="en-IN" sz="2800" b="1" baseline="30000" dirty="0">
                <a:solidFill>
                  <a:schemeClr val="bg1"/>
                </a:solidFill>
              </a:rPr>
              <a:t>rd</a:t>
            </a:r>
            <a:r>
              <a:rPr lang="en-IN" sz="2800" b="1" dirty="0">
                <a:solidFill>
                  <a:schemeClr val="bg1"/>
                </a:solidFill>
              </a:rPr>
              <a:t> February 2024</a:t>
            </a: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en-IN" sz="2800" b="1" i="1" dirty="0">
                <a:solidFill>
                  <a:schemeClr val="bg1"/>
                </a:solidFill>
              </a:rPr>
              <a:t>Venue: </a:t>
            </a:r>
            <a:r>
              <a:rPr lang="en-IN" sz="2800" b="1" dirty="0">
                <a:solidFill>
                  <a:schemeClr val="bg1"/>
                </a:solidFill>
              </a:rPr>
              <a:t>Bharat Mandapam, Pragati Maidan, New Delhi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266FF4-22A6-2A42-73F3-A932C7CF2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>
                <a:solidFill>
                  <a:schemeClr val="bg1"/>
                </a:solidFill>
              </a:rPr>
              <a:pPr/>
              <a:t>6</a:t>
            </a:fld>
            <a:endParaRPr lang="en-US" sz="1000">
              <a:solidFill>
                <a:schemeClr val="bg1"/>
              </a:solidFill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7872267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7E24B490-0FFE-B3D1-1242-A93CB8E50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4B490-0FFE-B3D1-1242-A93CB8E50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FED5282-3CF3-7F2C-BE8B-F5F74624CAF8}"/>
              </a:ext>
            </a:extLst>
          </p:cNvPr>
          <p:cNvSpPr/>
          <p:nvPr/>
        </p:nvSpPr>
        <p:spPr>
          <a:xfrm>
            <a:off x="282852" y="295405"/>
            <a:ext cx="11678090" cy="600864"/>
          </a:xfrm>
          <a:prstGeom prst="rect">
            <a:avLst/>
          </a:prstGeom>
          <a:noFill/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 b="1">
                <a:solidFill>
                  <a:schemeClr val="tx1"/>
                </a:solidFill>
              </a:rPr>
              <a:t>Partner Organizations</a:t>
            </a:r>
          </a:p>
        </p:txBody>
      </p:sp>
      <p:pic>
        <p:nvPicPr>
          <p:cNvPr id="19" name="Picture 13" descr="D:\F\MK NEW\PSaha\Webinar Concepts\BMT 2024\Logos\siam-logo.png">
            <a:extLst>
              <a:ext uri="{FF2B5EF4-FFF2-40B4-BE49-F238E27FC236}">
                <a16:creationId xmlns:a16="http://schemas.microsoft.com/office/drawing/2014/main" id="{739DEE03-5E07-3274-8652-C2BEFB74D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267" y="1360773"/>
            <a:ext cx="1104635" cy="598407"/>
          </a:xfrm>
          <a:prstGeom prst="rect">
            <a:avLst/>
          </a:prstGeom>
          <a:noFill/>
        </p:spPr>
      </p:pic>
      <p:pic>
        <p:nvPicPr>
          <p:cNvPr id="22" name="Picture 22" descr="D:\F\MK NEW\PSaha\Webinar Concepts\BMT 2024\Logos\download.png">
            <a:extLst>
              <a:ext uri="{FF2B5EF4-FFF2-40B4-BE49-F238E27FC236}">
                <a16:creationId xmlns:a16="http://schemas.microsoft.com/office/drawing/2014/main" id="{8DE2D341-26BC-A7D3-587D-AB402EAB690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57860" y="1424046"/>
            <a:ext cx="1387947" cy="508804"/>
          </a:xfrm>
          <a:prstGeom prst="rect">
            <a:avLst/>
          </a:prstGeom>
          <a:noFill/>
        </p:spPr>
      </p:pic>
      <p:pic>
        <p:nvPicPr>
          <p:cNvPr id="24" name="Picture 16" descr="D:\F\MK NEW\PSaha\Webinar Concepts\BMT 2024\Logos\6295c49ed80d6.png">
            <a:extLst>
              <a:ext uri="{FF2B5EF4-FFF2-40B4-BE49-F238E27FC236}">
                <a16:creationId xmlns:a16="http://schemas.microsoft.com/office/drawing/2014/main" id="{DB4C3699-50E9-09E3-3FF6-7DC70F8687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30513" y="1406518"/>
            <a:ext cx="1442533" cy="50691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27" name="Picture 21" descr="D:\F\MK NEW\PSaha\Webinar Concepts\BMT 2024\Logos\india-energy-storage-alliance-iesa-logo-vector.png">
            <a:extLst>
              <a:ext uri="{FF2B5EF4-FFF2-40B4-BE49-F238E27FC236}">
                <a16:creationId xmlns:a16="http://schemas.microsoft.com/office/drawing/2014/main" id="{6E4F9172-1586-F3B6-9DD8-923EFC31B3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33765" y="1297315"/>
            <a:ext cx="1158212" cy="725322"/>
          </a:xfrm>
          <a:prstGeom prst="rect">
            <a:avLst/>
          </a:prstGeom>
          <a:noFill/>
        </p:spPr>
      </p:pic>
      <p:pic>
        <p:nvPicPr>
          <p:cNvPr id="28" name="Picture 27" descr="A blue recycle sign with white arrows&#10;&#10;Description automatically generated">
            <a:extLst>
              <a:ext uri="{FF2B5EF4-FFF2-40B4-BE49-F238E27FC236}">
                <a16:creationId xmlns:a16="http://schemas.microsoft.com/office/drawing/2014/main" id="{BF096E97-9F36-3B26-E4B9-BFA6C656BCBB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9481" y="2103438"/>
            <a:ext cx="1766308" cy="692065"/>
          </a:xfrm>
          <a:prstGeom prst="rect">
            <a:avLst/>
          </a:prstGeom>
        </p:spPr>
      </p:pic>
      <p:pic>
        <p:nvPicPr>
          <p:cNvPr id="4098" name="Picture 2" descr="Ministry of Civil Aviation Announces Voluntary Registration for all Drones  in the country before 31st January 2020. – Drone Federation of India">
            <a:extLst>
              <a:ext uri="{FF2B5EF4-FFF2-40B4-BE49-F238E27FC236}">
                <a16:creationId xmlns:a16="http://schemas.microsoft.com/office/drawing/2014/main" id="{7D852F22-A047-F2AB-32AE-7128FC9289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73005" y="2107552"/>
            <a:ext cx="1656009" cy="692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0" name="Picture 4">
            <a:extLst>
              <a:ext uri="{FF2B5EF4-FFF2-40B4-BE49-F238E27FC236}">
                <a16:creationId xmlns:a16="http://schemas.microsoft.com/office/drawing/2014/main" id="{95ECB823-95FB-7094-9713-D67B4C452C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1992" y="1562749"/>
            <a:ext cx="1170564" cy="214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>
            <a:extLst>
              <a:ext uri="{FF2B5EF4-FFF2-40B4-BE49-F238E27FC236}">
                <a16:creationId xmlns:a16="http://schemas.microsoft.com/office/drawing/2014/main" id="{4F1E0CE4-D692-2A4A-92A2-8A084EE8F8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68048" y="2142788"/>
            <a:ext cx="1894489" cy="568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CFB9737B-5992-EDC1-466E-F9E688809CA0}"/>
              </a:ext>
            </a:extLst>
          </p:cNvPr>
          <p:cNvSpPr/>
          <p:nvPr/>
        </p:nvSpPr>
        <p:spPr>
          <a:xfrm>
            <a:off x="619431" y="1086507"/>
            <a:ext cx="10963828" cy="1767080"/>
          </a:xfrm>
          <a:prstGeom prst="rect">
            <a:avLst/>
          </a:prstGeom>
          <a:noFill/>
          <a:ln w="12700"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12" name="Picture 7" descr="D:\F\MK NEW\PSaha\Webinar Concepts\BMT 2024\Logos\India_Brand_Equity_Foundation_logo.svg.png">
            <a:extLst>
              <a:ext uri="{FF2B5EF4-FFF2-40B4-BE49-F238E27FC236}">
                <a16:creationId xmlns:a16="http://schemas.microsoft.com/office/drawing/2014/main" id="{9F022F9C-9380-C9C7-B910-4109E661C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63319" y="3605875"/>
            <a:ext cx="1127193" cy="738573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3" name="Picture 8" descr="D:\F\MK NEW\PSaha\Webinar Concepts\BMT 2024\Logos\logo-investindia.png">
            <a:extLst>
              <a:ext uri="{FF2B5EF4-FFF2-40B4-BE49-F238E27FC236}">
                <a16:creationId xmlns:a16="http://schemas.microsoft.com/office/drawing/2014/main" id="{DC8B3C9F-9EAA-958C-2221-DEF3685498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79753" y="3557023"/>
            <a:ext cx="1134379" cy="836277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5" name="Picture 11" descr="D:\F\MK NEW\PSaha\Webinar Concepts\BMT 2024\Logos\Official_logo_of_the_Confederation_of_Indian_Industry_(CII).svg.png">
            <a:extLst>
              <a:ext uri="{FF2B5EF4-FFF2-40B4-BE49-F238E27FC236}">
                <a16:creationId xmlns:a16="http://schemas.microsoft.com/office/drawing/2014/main" id="{DC8F69F6-2336-5591-BEDF-9386E0D1E9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01678" y="3625004"/>
            <a:ext cx="1582322" cy="70031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16" name="Picture 14" descr="D:\F\MK NEW\PSaha\Webinar Concepts\BMT 2024\Logos\ITPO_LOGO_C_18920.png">
            <a:extLst>
              <a:ext uri="{FF2B5EF4-FFF2-40B4-BE49-F238E27FC236}">
                <a16:creationId xmlns:a16="http://schemas.microsoft.com/office/drawing/2014/main" id="{ECF26FE3-A775-7093-3622-8C99528C8C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7200" y="3691588"/>
            <a:ext cx="921831" cy="567146"/>
          </a:xfrm>
          <a:prstGeom prst="rect">
            <a:avLst/>
          </a:prstGeom>
          <a:noFill/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FC1AB1EB-251C-0710-BF69-F66A14134C99}"/>
              </a:ext>
            </a:extLst>
          </p:cNvPr>
          <p:cNvSpPr/>
          <p:nvPr/>
        </p:nvSpPr>
        <p:spPr>
          <a:xfrm>
            <a:off x="657900" y="3170895"/>
            <a:ext cx="10963828" cy="146459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" name="Frame 1">
            <a:extLst>
              <a:ext uri="{FF2B5EF4-FFF2-40B4-BE49-F238E27FC236}">
                <a16:creationId xmlns:a16="http://schemas.microsoft.com/office/drawing/2014/main" id="{EA738303-93C0-0C09-B9D2-C2844FBB07A9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3305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C24210-AEBD-C1E8-5CCC-BF7461932F8A}"/>
              </a:ext>
            </a:extLst>
          </p:cNvPr>
          <p:cNvSpPr/>
          <p:nvPr/>
        </p:nvSpPr>
        <p:spPr>
          <a:xfrm>
            <a:off x="1484403" y="434112"/>
            <a:ext cx="2487522" cy="24056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3231466-B2BF-29E2-5A3D-E30303838BE9}"/>
              </a:ext>
            </a:extLst>
          </p:cNvPr>
          <p:cNvSpPr/>
          <p:nvPr/>
        </p:nvSpPr>
        <p:spPr>
          <a:xfrm>
            <a:off x="8220076" y="429937"/>
            <a:ext cx="2230481" cy="25355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pic>
        <p:nvPicPr>
          <p:cNvPr id="6" name="Picture 5" descr="A close up of text&#10;&#10;Description automatically generated">
            <a:extLst>
              <a:ext uri="{FF2B5EF4-FFF2-40B4-BE49-F238E27FC236}">
                <a16:creationId xmlns:a16="http://schemas.microsoft.com/office/drawing/2014/main" id="{DBFCD2F8-96DD-1535-7C32-BD89604A277F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120" b="14012"/>
          <a:stretch/>
        </p:blipFill>
        <p:spPr>
          <a:xfrm>
            <a:off x="10657032" y="241529"/>
            <a:ext cx="1290888" cy="671727"/>
          </a:xfrm>
          <a:prstGeom prst="rect">
            <a:avLst/>
          </a:prstGeom>
        </p:spPr>
      </p:pic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FAD5646-F006-4FBB-E1AC-0E6964E23F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/>
              <a:pPr/>
              <a:t>7</a:t>
            </a:fld>
            <a:endParaRPr lang="en-US" sz="1000"/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F4CD6A2C-4579-63FA-905A-B12602EC8A5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84403" y="2191946"/>
            <a:ext cx="1373177" cy="603557"/>
          </a:xfrm>
          <a:prstGeom prst="rect">
            <a:avLst/>
          </a:prstGeom>
        </p:spPr>
      </p:pic>
      <p:pic>
        <p:nvPicPr>
          <p:cNvPr id="10" name="Picture 9" descr="A logo for a tire manufacturer&#10;&#10;Description automatically generated">
            <a:extLst>
              <a:ext uri="{FF2B5EF4-FFF2-40B4-BE49-F238E27FC236}">
                <a16:creationId xmlns:a16="http://schemas.microsoft.com/office/drawing/2014/main" id="{61848804-B521-510C-D8E3-0088B1DDADAD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9935" y="1152640"/>
            <a:ext cx="1304099" cy="92231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3C2E999C-7EBF-2C1B-E101-6FC07E2B2490}"/>
              </a:ext>
            </a:extLst>
          </p:cNvPr>
          <p:cNvGrpSpPr/>
          <p:nvPr/>
        </p:nvGrpSpPr>
        <p:grpSpPr>
          <a:xfrm>
            <a:off x="689833" y="4845910"/>
            <a:ext cx="1937281" cy="1615665"/>
            <a:chOff x="689833" y="4820802"/>
            <a:chExt cx="1937281" cy="1615665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35EAB5FD-54EA-2A61-3BD8-B8FB2E6D3677}"/>
                </a:ext>
              </a:extLst>
            </p:cNvPr>
            <p:cNvSpPr/>
            <p:nvPr/>
          </p:nvSpPr>
          <p:spPr>
            <a:xfrm>
              <a:off x="689833" y="4971868"/>
              <a:ext cx="1937281" cy="146459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62CC777-A54E-2907-C46D-B6337088403F}"/>
                </a:ext>
              </a:extLst>
            </p:cNvPr>
            <p:cNvSpPr txBox="1"/>
            <p:nvPr/>
          </p:nvSpPr>
          <p:spPr>
            <a:xfrm>
              <a:off x="1032503" y="4820802"/>
              <a:ext cx="1251940" cy="3144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/>
                <a:t>Supported by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FD226ED-2E55-4D43-5DC1-A8B38FF2E5B7}"/>
              </a:ext>
            </a:extLst>
          </p:cNvPr>
          <p:cNvGrpSpPr/>
          <p:nvPr/>
        </p:nvGrpSpPr>
        <p:grpSpPr>
          <a:xfrm>
            <a:off x="5032205" y="4845910"/>
            <a:ext cx="2127589" cy="1615665"/>
            <a:chOff x="9497250" y="4871018"/>
            <a:chExt cx="2127589" cy="1615665"/>
          </a:xfrm>
        </p:grpSpPr>
        <p:pic>
          <p:nvPicPr>
            <p:cNvPr id="26" name="Picture 6" descr="D:\F\MK NEW\PSaha\Webinar Concepts\BMT 2024\Logos\eepc.jpg">
              <a:extLst>
                <a:ext uri="{FF2B5EF4-FFF2-40B4-BE49-F238E27FC236}">
                  <a16:creationId xmlns:a16="http://schemas.microsoft.com/office/drawing/2014/main" id="{31C7EF6E-B58B-B333-5C6F-FF74A520060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17782" y="5525854"/>
              <a:ext cx="1483654" cy="568763"/>
            </a:xfrm>
            <a:prstGeom prst="rect">
              <a:avLst/>
            </a:prstGeom>
            <a:noFill/>
          </p:spPr>
        </p:pic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7544989-F1D9-3F02-8D71-3C14808CB74C}"/>
                </a:ext>
              </a:extLst>
            </p:cNvPr>
            <p:cNvSpPr/>
            <p:nvPr/>
          </p:nvSpPr>
          <p:spPr>
            <a:xfrm>
              <a:off x="9497250" y="5022084"/>
              <a:ext cx="2127589" cy="1464599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US" sz="160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DA43999C-A09D-0705-6140-F2A1148FE31E}"/>
                </a:ext>
              </a:extLst>
            </p:cNvPr>
            <p:cNvSpPr txBox="1"/>
            <p:nvPr/>
          </p:nvSpPr>
          <p:spPr>
            <a:xfrm>
              <a:off x="9536992" y="4871018"/>
              <a:ext cx="2048985" cy="31448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 dirty="0"/>
                <a:t> Coordinating  Agency </a:t>
              </a:r>
            </a:p>
          </p:txBody>
        </p:sp>
      </p:grpSp>
      <p:pic>
        <p:nvPicPr>
          <p:cNvPr id="31" name="Picture 2">
            <a:extLst>
              <a:ext uri="{FF2B5EF4-FFF2-40B4-BE49-F238E27FC236}">
                <a16:creationId xmlns:a16="http://schemas.microsoft.com/office/drawing/2014/main" id="{4B915F79-3F2A-7709-7918-CF6D02E0BC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5267" y="5393556"/>
            <a:ext cx="1786411" cy="9188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3AB69710-4300-AAC0-76BE-9040020146A1}"/>
              </a:ext>
            </a:extLst>
          </p:cNvPr>
          <p:cNvGrpSpPr/>
          <p:nvPr/>
        </p:nvGrpSpPr>
        <p:grpSpPr>
          <a:xfrm>
            <a:off x="9374578" y="4840700"/>
            <a:ext cx="2127589" cy="1615665"/>
            <a:chOff x="5032205" y="4845910"/>
            <a:chExt cx="2127589" cy="1615665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409AE2CE-7CF6-E58D-15AE-DFBC8E3FD46E}"/>
                </a:ext>
              </a:extLst>
            </p:cNvPr>
            <p:cNvGrpSpPr/>
            <p:nvPr/>
          </p:nvGrpSpPr>
          <p:grpSpPr>
            <a:xfrm>
              <a:off x="5032205" y="4845910"/>
              <a:ext cx="2127589" cy="1615665"/>
              <a:chOff x="9497250" y="4871018"/>
              <a:chExt cx="2127589" cy="1615665"/>
            </a:xfrm>
          </p:grpSpPr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8524E7C4-337C-836A-2E5A-59D8777A5DDE}"/>
                  </a:ext>
                </a:extLst>
              </p:cNvPr>
              <p:cNvSpPr/>
              <p:nvPr/>
            </p:nvSpPr>
            <p:spPr>
              <a:xfrm>
                <a:off x="9497250" y="5022084"/>
                <a:ext cx="2127589" cy="1464599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US" sz="1600"/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1C877060-46C1-35DF-ED25-F2F19D29EEB0}"/>
                  </a:ext>
                </a:extLst>
              </p:cNvPr>
              <p:cNvSpPr txBox="1"/>
              <p:nvPr/>
            </p:nvSpPr>
            <p:spPr>
              <a:xfrm>
                <a:off x="9719242" y="4871018"/>
                <a:ext cx="1684486" cy="523220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 dirty="0"/>
                  <a:t>Knowledge Partner</a:t>
                </a:r>
              </a:p>
            </p:txBody>
          </p:sp>
        </p:grp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0D9CE386-6E53-F657-509E-70EC9881D0B3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5501915" y="5284429"/>
              <a:ext cx="1213054" cy="1001396"/>
            </a:xfrm>
            <a:prstGeom prst="rect">
              <a:avLst/>
            </a:prstGeom>
          </p:spPr>
        </p:pic>
      </p:grpSp>
    </p:spTree>
    <p:custDataLst>
      <p:custData r:id="rId1"/>
    </p:custDataLst>
    <p:extLst>
      <p:ext uri="{BB962C8B-B14F-4D97-AF65-F5344CB8AC3E}">
        <p14:creationId xmlns:p14="http://schemas.microsoft.com/office/powerpoint/2010/main" val="566219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>
            <a:extLst>
              <a:ext uri="{FF2B5EF4-FFF2-40B4-BE49-F238E27FC236}">
                <a16:creationId xmlns:a16="http://schemas.microsoft.com/office/drawing/2014/main" id="{3856AE71-A62A-CB57-2A45-55424263310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11" y="263968"/>
            <a:ext cx="11903498" cy="6410273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83864DA6-3461-19D0-0F38-62DCCE2A02A5}"/>
              </a:ext>
            </a:extLst>
          </p:cNvPr>
          <p:cNvSpPr/>
          <p:nvPr/>
        </p:nvSpPr>
        <p:spPr>
          <a:xfrm>
            <a:off x="562307" y="1329875"/>
            <a:ext cx="11029762" cy="4583709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/>
          </a:p>
        </p:txBody>
      </p:sp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7E24B490-0FFE-B3D1-1242-A93CB8E507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E24B490-0FFE-B3D1-1242-A93CB8E50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FFED5282-3CF3-7F2C-BE8B-F5F74624CAF8}"/>
              </a:ext>
            </a:extLst>
          </p:cNvPr>
          <p:cNvSpPr/>
          <p:nvPr/>
        </p:nvSpPr>
        <p:spPr>
          <a:xfrm>
            <a:off x="144191" y="267697"/>
            <a:ext cx="11903497" cy="60086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sz="2400"/>
              <a:t>Other Supporting Ministries</a:t>
            </a:r>
          </a:p>
        </p:txBody>
      </p:sp>
      <p:sp>
        <p:nvSpPr>
          <p:cNvPr id="6" name="Frame 5">
            <a:extLst>
              <a:ext uri="{FF2B5EF4-FFF2-40B4-BE49-F238E27FC236}">
                <a16:creationId xmlns:a16="http://schemas.microsoft.com/office/drawing/2014/main" id="{49C349BF-0B47-DD5C-883C-E60130420C28}"/>
              </a:ext>
            </a:extLst>
          </p:cNvPr>
          <p:cNvSpPr/>
          <p:nvPr/>
        </p:nvSpPr>
        <p:spPr>
          <a:xfrm>
            <a:off x="562307" y="1313277"/>
            <a:ext cx="11067386" cy="4610392"/>
          </a:xfrm>
          <a:prstGeom prst="frame">
            <a:avLst>
              <a:gd name="adj1" fmla="val 4544"/>
            </a:avLst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13" name="Picture 4" descr="Ministry of External Affairs (India) - Wikipedia">
            <a:extLst>
              <a:ext uri="{FF2B5EF4-FFF2-40B4-BE49-F238E27FC236}">
                <a16:creationId xmlns:a16="http://schemas.microsoft.com/office/drawing/2014/main" id="{48231C39-FE64-1DB3-32E5-C3DC5CFD9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0463" y="1528263"/>
            <a:ext cx="3057525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Ministry of Heavy Industries - Wikipedia">
            <a:extLst>
              <a:ext uri="{FF2B5EF4-FFF2-40B4-BE49-F238E27FC236}">
                <a16:creationId xmlns:a16="http://schemas.microsoft.com/office/drawing/2014/main" id="{E6777E1C-5477-F686-7269-5101C94F63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5735" y="1773301"/>
            <a:ext cx="3086736" cy="1005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Ministry of Power (India) - Wikipedia">
            <a:extLst>
              <a:ext uri="{FF2B5EF4-FFF2-40B4-BE49-F238E27FC236}">
                <a16:creationId xmlns:a16="http://schemas.microsoft.com/office/drawing/2014/main" id="{0F0E804E-93DE-E632-95A0-DE59DAF43E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55735" y="3136877"/>
            <a:ext cx="2137729" cy="1045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Ministry of Road Transport and Highways - Wikipedia">
            <a:extLst>
              <a:ext uri="{FF2B5EF4-FFF2-40B4-BE49-F238E27FC236}">
                <a16:creationId xmlns:a16="http://schemas.microsoft.com/office/drawing/2014/main" id="{986F2982-5CDF-B094-B727-34A30123D5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74534" y="1773301"/>
            <a:ext cx="2217095" cy="1005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Ministry of Petroleum and Natural Gas - Wikipedia">
            <a:extLst>
              <a:ext uri="{FF2B5EF4-FFF2-40B4-BE49-F238E27FC236}">
                <a16:creationId xmlns:a16="http://schemas.microsoft.com/office/drawing/2014/main" id="{DB09DB59-1327-33EF-F7D6-BE1C184262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94510" y="3131190"/>
            <a:ext cx="2195161" cy="1056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4D95BC59-207F-7B51-A3DF-EBC967EB12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80463" y="3131190"/>
            <a:ext cx="2440642" cy="1032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 descr="New Ranking System of Cities Based on Finance &amp; Beauty Launched">
            <a:extLst>
              <a:ext uri="{FF2B5EF4-FFF2-40B4-BE49-F238E27FC236}">
                <a16:creationId xmlns:a16="http://schemas.microsoft.com/office/drawing/2014/main" id="{EAE60B37-FD21-CC5F-A0B3-13D0E132B9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9464" y="4491049"/>
            <a:ext cx="2415965" cy="1095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D26B6F7-1654-AB13-B986-443DF4003693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5735" y="4515970"/>
            <a:ext cx="4309617" cy="102875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1FCEF0-8D96-2373-567C-07A8D24B66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>
                <a:solidFill>
                  <a:schemeClr val="bg1"/>
                </a:solidFill>
              </a:rPr>
              <a:pPr/>
              <a:t>8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1F9EDD7-70F4-843E-5260-F965B21E5AD9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2976" y="4394144"/>
            <a:ext cx="2195161" cy="1192433"/>
          </a:xfrm>
          <a:prstGeom prst="rect">
            <a:avLst/>
          </a:prstGeom>
        </p:spPr>
      </p:pic>
    </p:spTree>
    <p:custDataLst>
      <p:custData r:id="rId1"/>
    </p:custDataLst>
    <p:extLst>
      <p:ext uri="{BB962C8B-B14F-4D97-AF65-F5344CB8AC3E}">
        <p14:creationId xmlns:p14="http://schemas.microsoft.com/office/powerpoint/2010/main" val="34754117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think-cell data - do not delete" hidden="1">
            <a:extLst>
              <a:ext uri="{FF2B5EF4-FFF2-40B4-BE49-F238E27FC236}">
                <a16:creationId xmlns:a16="http://schemas.microsoft.com/office/drawing/2014/main" id="{27555331-02D1-8134-1444-1F51904010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555331-02D1-8134-1444-1F51904010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04E7D983-2BE9-0F34-0A68-6F92EEBB5896}"/>
              </a:ext>
            </a:extLst>
          </p:cNvPr>
          <p:cNvGraphicFramePr/>
          <p:nvPr/>
        </p:nvGraphicFramePr>
        <p:xfrm>
          <a:off x="477325" y="1489587"/>
          <a:ext cx="6404075" cy="4277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Oval 27">
            <a:extLst>
              <a:ext uri="{FF2B5EF4-FFF2-40B4-BE49-F238E27FC236}">
                <a16:creationId xmlns:a16="http://schemas.microsoft.com/office/drawing/2014/main" id="{A8EC647F-DA11-D4AE-0734-C9C9235AAF36}"/>
              </a:ext>
            </a:extLst>
          </p:cNvPr>
          <p:cNvSpPr/>
          <p:nvPr/>
        </p:nvSpPr>
        <p:spPr>
          <a:xfrm>
            <a:off x="2902122" y="2850863"/>
            <a:ext cx="1554480" cy="155448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r>
              <a:rPr lang="en-US" b="1">
                <a:solidFill>
                  <a:schemeClr val="tx1"/>
                </a:solidFill>
              </a:rPr>
              <a:t>Focus Area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17FA3C5-B34C-38DC-E041-761440335728}"/>
              </a:ext>
            </a:extLst>
          </p:cNvPr>
          <p:cNvSpPr txBox="1"/>
          <p:nvPr/>
        </p:nvSpPr>
        <p:spPr>
          <a:xfrm>
            <a:off x="3929756" y="2439447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76B11B-84E1-87AD-4DA8-DE11E71C6981}"/>
              </a:ext>
            </a:extLst>
          </p:cNvPr>
          <p:cNvSpPr txBox="1"/>
          <p:nvPr/>
        </p:nvSpPr>
        <p:spPr>
          <a:xfrm>
            <a:off x="4531047" y="2828465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A8A075F-54B2-AA56-AA11-0A97B19B8A9E}"/>
              </a:ext>
            </a:extLst>
          </p:cNvPr>
          <p:cNvSpPr txBox="1"/>
          <p:nvPr/>
        </p:nvSpPr>
        <p:spPr>
          <a:xfrm>
            <a:off x="4782997" y="3548550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9C4884A-B5B0-7344-8321-4A9418446755}"/>
              </a:ext>
            </a:extLst>
          </p:cNvPr>
          <p:cNvSpPr txBox="1"/>
          <p:nvPr/>
        </p:nvSpPr>
        <p:spPr>
          <a:xfrm>
            <a:off x="4531047" y="4246895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7088D64-F18D-EC73-F2EB-2D931D0174C6}"/>
              </a:ext>
            </a:extLst>
          </p:cNvPr>
          <p:cNvSpPr txBox="1"/>
          <p:nvPr/>
        </p:nvSpPr>
        <p:spPr>
          <a:xfrm>
            <a:off x="3929755" y="4658337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D8FA20C-2163-912D-8961-043B3AA9F1D3}"/>
              </a:ext>
            </a:extLst>
          </p:cNvPr>
          <p:cNvSpPr txBox="1"/>
          <p:nvPr/>
        </p:nvSpPr>
        <p:spPr>
          <a:xfrm>
            <a:off x="3187739" y="4658337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806386F-DB34-CE21-5135-205F13DBB3F1}"/>
              </a:ext>
            </a:extLst>
          </p:cNvPr>
          <p:cNvSpPr txBox="1"/>
          <p:nvPr/>
        </p:nvSpPr>
        <p:spPr>
          <a:xfrm>
            <a:off x="2624186" y="4246895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7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835AA8E-D619-065E-3312-15033EC1250F}"/>
              </a:ext>
            </a:extLst>
          </p:cNvPr>
          <p:cNvSpPr txBox="1"/>
          <p:nvPr/>
        </p:nvSpPr>
        <p:spPr>
          <a:xfrm>
            <a:off x="2408243" y="3526080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8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A9D3A4C-BF1C-DDEB-237D-F5B85DC2FCDF}"/>
              </a:ext>
            </a:extLst>
          </p:cNvPr>
          <p:cNvSpPr txBox="1"/>
          <p:nvPr/>
        </p:nvSpPr>
        <p:spPr>
          <a:xfrm>
            <a:off x="2597766" y="2828465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0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56DB8E-DE03-C9E4-C829-84D3163502D3}"/>
              </a:ext>
            </a:extLst>
          </p:cNvPr>
          <p:cNvSpPr txBox="1"/>
          <p:nvPr/>
        </p:nvSpPr>
        <p:spPr>
          <a:xfrm>
            <a:off x="3187739" y="2439446"/>
            <a:ext cx="198772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en-US" sz="1400" i="1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C7CAA65-F600-580F-41AF-770CE8704E37}"/>
              </a:ext>
            </a:extLst>
          </p:cNvPr>
          <p:cNvSpPr txBox="1"/>
          <p:nvPr/>
        </p:nvSpPr>
        <p:spPr>
          <a:xfrm>
            <a:off x="4161249" y="1067280"/>
            <a:ext cx="17939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IN" sz="1200" b="1">
                <a:solidFill>
                  <a:srgbClr val="D04A02"/>
                </a:solidFill>
                <a:cs typeface="Arial" panose="020B0604020202020204" pitchFamily="34" charset="0"/>
              </a:rPr>
              <a:t>Automobile &amp; Powertrain Technologie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349E110-5A60-1AA4-7DD4-0BE16DCADE46}"/>
              </a:ext>
            </a:extLst>
          </p:cNvPr>
          <p:cNvSpPr txBox="1"/>
          <p:nvPr/>
        </p:nvSpPr>
        <p:spPr>
          <a:xfrm>
            <a:off x="5293901" y="2048938"/>
            <a:ext cx="199027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>
                <a:solidFill>
                  <a:srgbClr val="E0301E"/>
                </a:solidFill>
                <a:cs typeface="Arial" panose="020B0604020202020204" pitchFamily="34" charset="0"/>
              </a:rPr>
              <a:t>Auto Components, New Age and Aftermarket</a:t>
            </a:r>
            <a:endParaRPr lang="en-IN" sz="1200" b="1">
              <a:solidFill>
                <a:srgbClr val="E0301E"/>
              </a:solidFill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54A5270-BBCA-BAA8-E638-26EFABE1A708}"/>
              </a:ext>
            </a:extLst>
          </p:cNvPr>
          <p:cNvSpPr txBox="1"/>
          <p:nvPr/>
        </p:nvSpPr>
        <p:spPr>
          <a:xfrm>
            <a:off x="5614197" y="3248468"/>
            <a:ext cx="180407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 i="0">
                <a:solidFill>
                  <a:srgbClr val="DB536A"/>
                </a:solidFill>
                <a:effectLst/>
              </a:rPr>
              <a:t>Electrical and Electronics and Mechanical Subsystems</a:t>
            </a:r>
            <a:endParaRPr lang="en-IN" sz="1200" b="1">
              <a:solidFill>
                <a:srgbClr val="DB536A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D6FBE8C-DB5C-3BB1-E83E-ADF0698DBA09}"/>
              </a:ext>
            </a:extLst>
          </p:cNvPr>
          <p:cNvSpPr txBox="1"/>
          <p:nvPr/>
        </p:nvSpPr>
        <p:spPr>
          <a:xfrm>
            <a:off x="5161164" y="4689388"/>
            <a:ext cx="1532896" cy="4616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 i="0">
                <a:solidFill>
                  <a:srgbClr val="7D2C01"/>
                </a:solidFill>
                <a:effectLst/>
              </a:rPr>
              <a:t>Next-gen, Eco-friendly </a:t>
            </a:r>
            <a:r>
              <a:rPr lang="en-US" sz="1200" b="1" i="0" err="1">
                <a:solidFill>
                  <a:srgbClr val="7D2C01"/>
                </a:solidFill>
                <a:effectLst/>
              </a:rPr>
              <a:t>Tyres</a:t>
            </a:r>
            <a:r>
              <a:rPr lang="en-US" sz="1200" b="1">
                <a:solidFill>
                  <a:srgbClr val="7D2C01"/>
                </a:solidFill>
              </a:rPr>
              <a:t> </a:t>
            </a:r>
            <a:endParaRPr lang="en-US" sz="1200" b="1">
              <a:solidFill>
                <a:srgbClr val="7D2C01"/>
              </a:solidFill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0889B7-9B7C-6990-E04C-5BA1CE09CDE1}"/>
              </a:ext>
            </a:extLst>
          </p:cNvPr>
          <p:cNvSpPr txBox="1"/>
          <p:nvPr/>
        </p:nvSpPr>
        <p:spPr>
          <a:xfrm>
            <a:off x="3908631" y="5608329"/>
            <a:ext cx="1720885" cy="64633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>
                <a:solidFill>
                  <a:srgbClr val="861D12"/>
                </a:solidFill>
              </a:rPr>
              <a:t>Urban Mobility Including Bicycles, e-Bikes</a:t>
            </a:r>
            <a:endParaRPr lang="en-US" sz="1200" b="1">
              <a:solidFill>
                <a:srgbClr val="861D12"/>
              </a:solidFill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C1A118C-A916-786B-6322-148EDC9953AE}"/>
              </a:ext>
            </a:extLst>
          </p:cNvPr>
          <p:cNvSpPr txBox="1"/>
          <p:nvPr/>
        </p:nvSpPr>
        <p:spPr>
          <a:xfrm>
            <a:off x="2044880" y="5577433"/>
            <a:ext cx="148933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 i="0">
                <a:solidFill>
                  <a:srgbClr val="961F33"/>
                </a:solidFill>
                <a:effectLst/>
              </a:rPr>
              <a:t>Battery Technologies and Circular Economy</a:t>
            </a:r>
            <a:endParaRPr lang="en-IN" sz="1200" b="1">
              <a:solidFill>
                <a:srgbClr val="961F33"/>
              </a:solidFill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19785B7-72E4-2342-F06C-B94F03651ACD}"/>
              </a:ext>
            </a:extLst>
          </p:cNvPr>
          <p:cNvSpPr txBox="1"/>
          <p:nvPr/>
        </p:nvSpPr>
        <p:spPr>
          <a:xfrm>
            <a:off x="599867" y="4598854"/>
            <a:ext cx="153289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US" sz="1200" b="1" i="0">
                <a:solidFill>
                  <a:srgbClr val="FD6411"/>
                </a:solidFill>
                <a:effectLst/>
              </a:rPr>
              <a:t>Infrastructure </a:t>
            </a:r>
            <a:r>
              <a:rPr lang="en-US" sz="1200" b="1">
                <a:solidFill>
                  <a:srgbClr val="FD6411"/>
                </a:solidFill>
              </a:rPr>
              <a:t>f</a:t>
            </a:r>
            <a:r>
              <a:rPr lang="en-US" sz="1200" b="1" i="0">
                <a:solidFill>
                  <a:srgbClr val="FD6411"/>
                </a:solidFill>
                <a:effectLst/>
              </a:rPr>
              <a:t>or Charging </a:t>
            </a:r>
            <a:r>
              <a:rPr lang="en-US" sz="1200" b="1">
                <a:solidFill>
                  <a:srgbClr val="FD6411"/>
                </a:solidFill>
              </a:rPr>
              <a:t>a</a:t>
            </a:r>
            <a:r>
              <a:rPr lang="en-US" sz="1200" b="1" i="0">
                <a:solidFill>
                  <a:srgbClr val="FD6411"/>
                </a:solidFill>
                <a:effectLst/>
              </a:rPr>
              <a:t>nd Other Energy Sources</a:t>
            </a:r>
            <a:endParaRPr lang="en-IN" sz="1200" b="1">
              <a:solidFill>
                <a:srgbClr val="FD6411"/>
              </a:solidFill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9917A25-B032-D278-6728-C73423E45ACF}"/>
              </a:ext>
            </a:extLst>
          </p:cNvPr>
          <p:cNvSpPr txBox="1"/>
          <p:nvPr/>
        </p:nvSpPr>
        <p:spPr>
          <a:xfrm>
            <a:off x="567904" y="3305468"/>
            <a:ext cx="116349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IN" sz="1200" b="1">
                <a:solidFill>
                  <a:srgbClr val="E7594A"/>
                </a:solidFill>
                <a:cs typeface="Arial" panose="020B0604020202020204" pitchFamily="34" charset="0"/>
              </a:rPr>
              <a:t>Innovative Technology Solution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F25BA19-A374-7933-C6A2-7AF650C1B268}"/>
              </a:ext>
            </a:extLst>
          </p:cNvPr>
          <p:cNvSpPr txBox="1"/>
          <p:nvPr/>
        </p:nvSpPr>
        <p:spPr>
          <a:xfrm>
            <a:off x="704421" y="1976062"/>
            <a:ext cx="133672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IN" sz="1200" b="1">
                <a:solidFill>
                  <a:srgbClr val="E27588"/>
                </a:solidFill>
                <a:cs typeface="Arial" panose="020B0604020202020204" pitchFamily="34" charset="0"/>
              </a:rPr>
              <a:t>Construction Equipment Machiner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078C606-B977-25B3-49B3-87A31B891054}"/>
              </a:ext>
            </a:extLst>
          </p:cNvPr>
          <p:cNvSpPr txBox="1"/>
          <p:nvPr/>
        </p:nvSpPr>
        <p:spPr>
          <a:xfrm>
            <a:off x="1490637" y="981012"/>
            <a:ext cx="16145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ctr">
              <a:spcAft>
                <a:spcPts val="1200"/>
              </a:spcAft>
            </a:pPr>
            <a:r>
              <a:rPr lang="en-GB" sz="1200" b="1">
                <a:solidFill>
                  <a:srgbClr val="A63B02"/>
                </a:solidFill>
              </a:rPr>
              <a:t>Supply Chain Encompassing S</a:t>
            </a:r>
            <a:r>
              <a:rPr lang="en-GB" sz="1200" b="1" i="0">
                <a:solidFill>
                  <a:srgbClr val="A63B02"/>
                </a:solidFill>
                <a:effectLst/>
              </a:rPr>
              <a:t>teel, Rubber and </a:t>
            </a:r>
            <a:r>
              <a:rPr lang="en-GB" sz="1200" b="1">
                <a:solidFill>
                  <a:srgbClr val="A63B02"/>
                </a:solidFill>
              </a:rPr>
              <a:t>M</a:t>
            </a:r>
            <a:r>
              <a:rPr lang="en-GB" sz="1200" b="1" i="0">
                <a:solidFill>
                  <a:srgbClr val="A63B02"/>
                </a:solidFill>
                <a:effectLst/>
              </a:rPr>
              <a:t>achine Tools</a:t>
            </a:r>
            <a:endParaRPr lang="en-IN" sz="1200" b="1">
              <a:solidFill>
                <a:srgbClr val="A63B02"/>
              </a:solidFill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81DC78-2075-7C29-5646-39A04B1913EB}"/>
              </a:ext>
            </a:extLst>
          </p:cNvPr>
          <p:cNvSpPr txBox="1"/>
          <p:nvPr/>
        </p:nvSpPr>
        <p:spPr>
          <a:xfrm>
            <a:off x="370114" y="149251"/>
            <a:ext cx="775183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400" b="1" dirty="0">
                <a:solidFill>
                  <a:schemeClr val="accent5"/>
                </a:solidFill>
              </a:rPr>
              <a:t>Focus Areas for Bharat Mobility Global Expo 2024</a:t>
            </a:r>
          </a:p>
        </p:txBody>
      </p:sp>
      <p:sp>
        <p:nvSpPr>
          <p:cNvPr id="2" name="Google Shape;2003;p98">
            <a:extLst>
              <a:ext uri="{FF2B5EF4-FFF2-40B4-BE49-F238E27FC236}">
                <a16:creationId xmlns:a16="http://schemas.microsoft.com/office/drawing/2014/main" id="{F18A14CA-DA1A-A39D-7D9F-2425410B0739}"/>
              </a:ext>
            </a:extLst>
          </p:cNvPr>
          <p:cNvSpPr/>
          <p:nvPr/>
        </p:nvSpPr>
        <p:spPr>
          <a:xfrm>
            <a:off x="3962083" y="1861874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346" h="346" extrusionOk="0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7" y="90"/>
                </a:moveTo>
                <a:cubicBezTo>
                  <a:pt x="117" y="77"/>
                  <a:pt x="128" y="67"/>
                  <a:pt x="141" y="67"/>
                </a:cubicBezTo>
                <a:cubicBezTo>
                  <a:pt x="153" y="67"/>
                  <a:pt x="164" y="77"/>
                  <a:pt x="164" y="90"/>
                </a:cubicBezTo>
                <a:cubicBezTo>
                  <a:pt x="164" y="103"/>
                  <a:pt x="153" y="113"/>
                  <a:pt x="141" y="113"/>
                </a:cubicBezTo>
                <a:cubicBezTo>
                  <a:pt x="128" y="113"/>
                  <a:pt x="117" y="103"/>
                  <a:pt x="117" y="90"/>
                </a:cubicBezTo>
                <a:close/>
                <a:moveTo>
                  <a:pt x="331" y="332"/>
                </a:moveTo>
                <a:cubicBezTo>
                  <a:pt x="217" y="332"/>
                  <a:pt x="217" y="332"/>
                  <a:pt x="217" y="332"/>
                </a:cubicBezTo>
                <a:cubicBezTo>
                  <a:pt x="217" y="296"/>
                  <a:pt x="217" y="296"/>
                  <a:pt x="217" y="296"/>
                </a:cubicBezTo>
                <a:cubicBezTo>
                  <a:pt x="278" y="246"/>
                  <a:pt x="278" y="246"/>
                  <a:pt x="278" y="246"/>
                </a:cubicBezTo>
                <a:cubicBezTo>
                  <a:pt x="278" y="134"/>
                  <a:pt x="278" y="134"/>
                  <a:pt x="278" y="134"/>
                </a:cubicBezTo>
                <a:cubicBezTo>
                  <a:pt x="295" y="131"/>
                  <a:pt x="309" y="115"/>
                  <a:pt x="309" y="97"/>
                </a:cubicBezTo>
                <a:cubicBezTo>
                  <a:pt x="309" y="76"/>
                  <a:pt x="291" y="59"/>
                  <a:pt x="270" y="59"/>
                </a:cubicBezTo>
                <a:cubicBezTo>
                  <a:pt x="249" y="59"/>
                  <a:pt x="232" y="76"/>
                  <a:pt x="232" y="97"/>
                </a:cubicBezTo>
                <a:cubicBezTo>
                  <a:pt x="232" y="115"/>
                  <a:pt x="245" y="131"/>
                  <a:pt x="263" y="134"/>
                </a:cubicBezTo>
                <a:cubicBezTo>
                  <a:pt x="263" y="239"/>
                  <a:pt x="263" y="239"/>
                  <a:pt x="263" y="239"/>
                </a:cubicBezTo>
                <a:cubicBezTo>
                  <a:pt x="202" y="289"/>
                  <a:pt x="202" y="289"/>
                  <a:pt x="202" y="289"/>
                </a:cubicBezTo>
                <a:cubicBezTo>
                  <a:pt x="202" y="332"/>
                  <a:pt x="202" y="332"/>
                  <a:pt x="202" y="332"/>
                </a:cubicBezTo>
                <a:cubicBezTo>
                  <a:pt x="185" y="332"/>
                  <a:pt x="185" y="332"/>
                  <a:pt x="185" y="332"/>
                </a:cubicBezTo>
                <a:cubicBezTo>
                  <a:pt x="185" y="259"/>
                  <a:pt x="185" y="259"/>
                  <a:pt x="185" y="259"/>
                </a:cubicBezTo>
                <a:cubicBezTo>
                  <a:pt x="213" y="235"/>
                  <a:pt x="213" y="235"/>
                  <a:pt x="213" y="235"/>
                </a:cubicBezTo>
                <a:cubicBezTo>
                  <a:pt x="213" y="198"/>
                  <a:pt x="213" y="198"/>
                  <a:pt x="213" y="198"/>
                </a:cubicBezTo>
                <a:cubicBezTo>
                  <a:pt x="230" y="195"/>
                  <a:pt x="244" y="179"/>
                  <a:pt x="244" y="161"/>
                </a:cubicBezTo>
                <a:cubicBezTo>
                  <a:pt x="244" y="140"/>
                  <a:pt x="227" y="123"/>
                  <a:pt x="205" y="123"/>
                </a:cubicBezTo>
                <a:cubicBezTo>
                  <a:pt x="184" y="123"/>
                  <a:pt x="167" y="140"/>
                  <a:pt x="167" y="161"/>
                </a:cubicBezTo>
                <a:cubicBezTo>
                  <a:pt x="167" y="179"/>
                  <a:pt x="181" y="195"/>
                  <a:pt x="198" y="198"/>
                </a:cubicBezTo>
                <a:cubicBezTo>
                  <a:pt x="198" y="228"/>
                  <a:pt x="198" y="228"/>
                  <a:pt x="198" y="228"/>
                </a:cubicBezTo>
                <a:cubicBezTo>
                  <a:pt x="170" y="252"/>
                  <a:pt x="170" y="252"/>
                  <a:pt x="170" y="252"/>
                </a:cubicBezTo>
                <a:cubicBezTo>
                  <a:pt x="170" y="332"/>
                  <a:pt x="170" y="332"/>
                  <a:pt x="170" y="332"/>
                </a:cubicBezTo>
                <a:cubicBezTo>
                  <a:pt x="153" y="332"/>
                  <a:pt x="153" y="332"/>
                  <a:pt x="153" y="332"/>
                </a:cubicBezTo>
                <a:cubicBezTo>
                  <a:pt x="148" y="127"/>
                  <a:pt x="148" y="127"/>
                  <a:pt x="148" y="127"/>
                </a:cubicBezTo>
                <a:cubicBezTo>
                  <a:pt x="166" y="124"/>
                  <a:pt x="179" y="109"/>
                  <a:pt x="179" y="90"/>
                </a:cubicBezTo>
                <a:cubicBezTo>
                  <a:pt x="179" y="69"/>
                  <a:pt x="162" y="52"/>
                  <a:pt x="141" y="52"/>
                </a:cubicBezTo>
                <a:cubicBezTo>
                  <a:pt x="120" y="52"/>
                  <a:pt x="102" y="69"/>
                  <a:pt x="102" y="90"/>
                </a:cubicBezTo>
                <a:cubicBezTo>
                  <a:pt x="102" y="109"/>
                  <a:pt x="116" y="124"/>
                  <a:pt x="133" y="128"/>
                </a:cubicBezTo>
                <a:cubicBezTo>
                  <a:pt x="138" y="332"/>
                  <a:pt x="138" y="332"/>
                  <a:pt x="138" y="332"/>
                </a:cubicBezTo>
                <a:cubicBezTo>
                  <a:pt x="121" y="332"/>
                  <a:pt x="121" y="332"/>
                  <a:pt x="121" y="332"/>
                </a:cubicBezTo>
                <a:cubicBezTo>
                  <a:pt x="121" y="237"/>
                  <a:pt x="121" y="237"/>
                  <a:pt x="121" y="237"/>
                </a:cubicBezTo>
                <a:cubicBezTo>
                  <a:pt x="89" y="199"/>
                  <a:pt x="89" y="199"/>
                  <a:pt x="89" y="199"/>
                </a:cubicBezTo>
                <a:cubicBezTo>
                  <a:pt x="104" y="194"/>
                  <a:pt x="114" y="180"/>
                  <a:pt x="114" y="163"/>
                </a:cubicBezTo>
                <a:cubicBezTo>
                  <a:pt x="114" y="142"/>
                  <a:pt x="97" y="125"/>
                  <a:pt x="76" y="125"/>
                </a:cubicBezTo>
                <a:cubicBezTo>
                  <a:pt x="55" y="125"/>
                  <a:pt x="38" y="142"/>
                  <a:pt x="38" y="163"/>
                </a:cubicBezTo>
                <a:cubicBezTo>
                  <a:pt x="38" y="183"/>
                  <a:pt x="53" y="200"/>
                  <a:pt x="72" y="201"/>
                </a:cubicBezTo>
                <a:cubicBezTo>
                  <a:pt x="106" y="242"/>
                  <a:pt x="106" y="242"/>
                  <a:pt x="106" y="242"/>
                </a:cubicBezTo>
                <a:cubicBezTo>
                  <a:pt x="106" y="332"/>
                  <a:pt x="106" y="332"/>
                  <a:pt x="106" y="332"/>
                </a:cubicBez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2"/>
                </a:lnTo>
                <a:close/>
                <a:moveTo>
                  <a:pt x="270" y="120"/>
                </a:moveTo>
                <a:cubicBezTo>
                  <a:pt x="257" y="120"/>
                  <a:pt x="247" y="110"/>
                  <a:pt x="247" y="97"/>
                </a:cubicBezTo>
                <a:cubicBezTo>
                  <a:pt x="247" y="84"/>
                  <a:pt x="257" y="73"/>
                  <a:pt x="270" y="73"/>
                </a:cubicBezTo>
                <a:cubicBezTo>
                  <a:pt x="283" y="73"/>
                  <a:pt x="294" y="84"/>
                  <a:pt x="294" y="97"/>
                </a:cubicBezTo>
                <a:cubicBezTo>
                  <a:pt x="294" y="110"/>
                  <a:pt x="283" y="120"/>
                  <a:pt x="270" y="120"/>
                </a:cubicBezTo>
                <a:close/>
                <a:moveTo>
                  <a:pt x="205" y="184"/>
                </a:moveTo>
                <a:cubicBezTo>
                  <a:pt x="193" y="184"/>
                  <a:pt x="182" y="174"/>
                  <a:pt x="182" y="161"/>
                </a:cubicBezTo>
                <a:cubicBezTo>
                  <a:pt x="182" y="148"/>
                  <a:pt x="193" y="137"/>
                  <a:pt x="205" y="137"/>
                </a:cubicBezTo>
                <a:cubicBezTo>
                  <a:pt x="218" y="137"/>
                  <a:pt x="229" y="148"/>
                  <a:pt x="229" y="161"/>
                </a:cubicBezTo>
                <a:cubicBezTo>
                  <a:pt x="229" y="174"/>
                  <a:pt x="218" y="184"/>
                  <a:pt x="205" y="184"/>
                </a:cubicBezTo>
                <a:close/>
                <a:moveTo>
                  <a:pt x="52" y="163"/>
                </a:moveTo>
                <a:cubicBezTo>
                  <a:pt x="52" y="151"/>
                  <a:pt x="63" y="140"/>
                  <a:pt x="76" y="140"/>
                </a:cubicBezTo>
                <a:cubicBezTo>
                  <a:pt x="89" y="140"/>
                  <a:pt x="99" y="151"/>
                  <a:pt x="99" y="163"/>
                </a:cubicBezTo>
                <a:cubicBezTo>
                  <a:pt x="99" y="176"/>
                  <a:pt x="89" y="187"/>
                  <a:pt x="76" y="187"/>
                </a:cubicBezTo>
                <a:cubicBezTo>
                  <a:pt x="63" y="187"/>
                  <a:pt x="52" y="176"/>
                  <a:pt x="52" y="16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6" name="Google Shape;2001;p98">
            <a:extLst>
              <a:ext uri="{FF2B5EF4-FFF2-40B4-BE49-F238E27FC236}">
                <a16:creationId xmlns:a16="http://schemas.microsoft.com/office/drawing/2014/main" id="{058AED5B-C9CC-D4E4-0E42-2671E6B5FC22}"/>
              </a:ext>
            </a:extLst>
          </p:cNvPr>
          <p:cNvSpPr/>
          <p:nvPr/>
        </p:nvSpPr>
        <p:spPr>
          <a:xfrm>
            <a:off x="1829552" y="3470908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347" h="347" extrusionOk="0">
                <a:moveTo>
                  <a:pt x="0" y="0"/>
                </a:moveTo>
                <a:cubicBezTo>
                  <a:pt x="0" y="347"/>
                  <a:pt x="0" y="347"/>
                  <a:pt x="0" y="347"/>
                </a:cubicBezTo>
                <a:cubicBezTo>
                  <a:pt x="347" y="347"/>
                  <a:pt x="347" y="347"/>
                  <a:pt x="347" y="347"/>
                </a:cubicBezTo>
                <a:cubicBezTo>
                  <a:pt x="347" y="0"/>
                  <a:pt x="347" y="0"/>
                  <a:pt x="347" y="0"/>
                </a:cubicBezTo>
                <a:lnTo>
                  <a:pt x="0" y="0"/>
                </a:lnTo>
                <a:close/>
                <a:moveTo>
                  <a:pt x="332" y="332"/>
                </a:moveTo>
                <a:cubicBezTo>
                  <a:pt x="15" y="332"/>
                  <a:pt x="15" y="332"/>
                  <a:pt x="15" y="332"/>
                </a:cubicBezTo>
                <a:cubicBezTo>
                  <a:pt x="15" y="15"/>
                  <a:pt x="15" y="15"/>
                  <a:pt x="15" y="15"/>
                </a:cubicBezTo>
                <a:cubicBezTo>
                  <a:pt x="332" y="15"/>
                  <a:pt x="332" y="15"/>
                  <a:pt x="332" y="15"/>
                </a:cubicBezTo>
                <a:lnTo>
                  <a:pt x="332" y="332"/>
                </a:lnTo>
                <a:close/>
                <a:moveTo>
                  <a:pt x="173" y="300"/>
                </a:moveTo>
                <a:cubicBezTo>
                  <a:pt x="243" y="300"/>
                  <a:pt x="300" y="243"/>
                  <a:pt x="300" y="173"/>
                </a:cubicBezTo>
                <a:cubicBezTo>
                  <a:pt x="300" y="104"/>
                  <a:pt x="243" y="47"/>
                  <a:pt x="173" y="47"/>
                </a:cubicBezTo>
                <a:cubicBezTo>
                  <a:pt x="104" y="47"/>
                  <a:pt x="47" y="104"/>
                  <a:pt x="47" y="173"/>
                </a:cubicBezTo>
                <a:cubicBezTo>
                  <a:pt x="47" y="243"/>
                  <a:pt x="104" y="300"/>
                  <a:pt x="173" y="300"/>
                </a:cubicBezTo>
                <a:close/>
                <a:moveTo>
                  <a:pt x="84" y="240"/>
                </a:moveTo>
                <a:cubicBezTo>
                  <a:pt x="109" y="240"/>
                  <a:pt x="109" y="240"/>
                  <a:pt x="109" y="240"/>
                </a:cubicBezTo>
                <a:cubicBezTo>
                  <a:pt x="114" y="254"/>
                  <a:pt x="121" y="266"/>
                  <a:pt x="129" y="276"/>
                </a:cubicBezTo>
                <a:cubicBezTo>
                  <a:pt x="111" y="268"/>
                  <a:pt x="96" y="256"/>
                  <a:pt x="84" y="240"/>
                </a:cubicBezTo>
                <a:close/>
                <a:moveTo>
                  <a:pt x="91" y="121"/>
                </a:moveTo>
                <a:cubicBezTo>
                  <a:pt x="92" y="128"/>
                  <a:pt x="96" y="134"/>
                  <a:pt x="101" y="137"/>
                </a:cubicBezTo>
                <a:cubicBezTo>
                  <a:pt x="100" y="147"/>
                  <a:pt x="99" y="156"/>
                  <a:pt x="99" y="166"/>
                </a:cubicBezTo>
                <a:cubicBezTo>
                  <a:pt x="62" y="166"/>
                  <a:pt x="62" y="166"/>
                  <a:pt x="62" y="166"/>
                </a:cubicBezTo>
                <a:cubicBezTo>
                  <a:pt x="63" y="150"/>
                  <a:pt x="67" y="135"/>
                  <a:pt x="75" y="121"/>
                </a:cubicBezTo>
                <a:lnTo>
                  <a:pt x="91" y="121"/>
                </a:lnTo>
                <a:close/>
                <a:moveTo>
                  <a:pt x="285" y="166"/>
                </a:moveTo>
                <a:cubicBezTo>
                  <a:pt x="267" y="166"/>
                  <a:pt x="267" y="166"/>
                  <a:pt x="267" y="166"/>
                </a:cubicBezTo>
                <a:cubicBezTo>
                  <a:pt x="264" y="157"/>
                  <a:pt x="257" y="151"/>
                  <a:pt x="247" y="149"/>
                </a:cubicBezTo>
                <a:cubicBezTo>
                  <a:pt x="246" y="139"/>
                  <a:pt x="244" y="130"/>
                  <a:pt x="242" y="121"/>
                </a:cubicBezTo>
                <a:cubicBezTo>
                  <a:pt x="272" y="121"/>
                  <a:pt x="272" y="121"/>
                  <a:pt x="272" y="121"/>
                </a:cubicBezTo>
                <a:cubicBezTo>
                  <a:pt x="279" y="135"/>
                  <a:pt x="284" y="150"/>
                  <a:pt x="285" y="166"/>
                </a:cubicBezTo>
                <a:close/>
                <a:moveTo>
                  <a:pt x="145" y="121"/>
                </a:moveTo>
                <a:cubicBezTo>
                  <a:pt x="166" y="121"/>
                  <a:pt x="166" y="121"/>
                  <a:pt x="166" y="121"/>
                </a:cubicBezTo>
                <a:cubicBezTo>
                  <a:pt x="166" y="166"/>
                  <a:pt x="166" y="166"/>
                  <a:pt x="166" y="166"/>
                </a:cubicBezTo>
                <a:cubicBezTo>
                  <a:pt x="113" y="166"/>
                  <a:pt x="113" y="166"/>
                  <a:pt x="113" y="166"/>
                </a:cubicBezTo>
                <a:cubicBezTo>
                  <a:pt x="114" y="158"/>
                  <a:pt x="114" y="150"/>
                  <a:pt x="115" y="143"/>
                </a:cubicBezTo>
                <a:cubicBezTo>
                  <a:pt x="116" y="143"/>
                  <a:pt x="117" y="143"/>
                  <a:pt x="118" y="143"/>
                </a:cubicBezTo>
                <a:cubicBezTo>
                  <a:pt x="131" y="143"/>
                  <a:pt x="142" y="134"/>
                  <a:pt x="145" y="121"/>
                </a:cubicBezTo>
                <a:close/>
                <a:moveTo>
                  <a:pt x="166" y="181"/>
                </a:moveTo>
                <a:cubicBezTo>
                  <a:pt x="166" y="205"/>
                  <a:pt x="166" y="205"/>
                  <a:pt x="166" y="205"/>
                </a:cubicBezTo>
                <a:cubicBezTo>
                  <a:pt x="157" y="208"/>
                  <a:pt x="149" y="216"/>
                  <a:pt x="147" y="226"/>
                </a:cubicBezTo>
                <a:cubicBezTo>
                  <a:pt x="120" y="226"/>
                  <a:pt x="120" y="226"/>
                  <a:pt x="120" y="226"/>
                </a:cubicBezTo>
                <a:cubicBezTo>
                  <a:pt x="116" y="212"/>
                  <a:pt x="114" y="197"/>
                  <a:pt x="113" y="181"/>
                </a:cubicBezTo>
                <a:lnTo>
                  <a:pt x="166" y="181"/>
                </a:lnTo>
                <a:close/>
                <a:moveTo>
                  <a:pt x="174" y="244"/>
                </a:moveTo>
                <a:cubicBezTo>
                  <a:pt x="167" y="244"/>
                  <a:pt x="161" y="238"/>
                  <a:pt x="161" y="232"/>
                </a:cubicBezTo>
                <a:cubicBezTo>
                  <a:pt x="161" y="225"/>
                  <a:pt x="167" y="219"/>
                  <a:pt x="174" y="219"/>
                </a:cubicBezTo>
                <a:cubicBezTo>
                  <a:pt x="181" y="219"/>
                  <a:pt x="186" y="225"/>
                  <a:pt x="186" y="232"/>
                </a:cubicBezTo>
                <a:cubicBezTo>
                  <a:pt x="186" y="238"/>
                  <a:pt x="181" y="244"/>
                  <a:pt x="174" y="244"/>
                </a:cubicBezTo>
                <a:close/>
                <a:moveTo>
                  <a:pt x="148" y="240"/>
                </a:moveTo>
                <a:cubicBezTo>
                  <a:pt x="151" y="249"/>
                  <a:pt x="158" y="255"/>
                  <a:pt x="166" y="258"/>
                </a:cubicBezTo>
                <a:cubicBezTo>
                  <a:pt x="166" y="284"/>
                  <a:pt x="166" y="284"/>
                  <a:pt x="166" y="284"/>
                </a:cubicBezTo>
                <a:cubicBezTo>
                  <a:pt x="150" y="280"/>
                  <a:pt x="135" y="264"/>
                  <a:pt x="126" y="240"/>
                </a:cubicBezTo>
                <a:lnTo>
                  <a:pt x="148" y="240"/>
                </a:lnTo>
                <a:close/>
                <a:moveTo>
                  <a:pt x="181" y="284"/>
                </a:moveTo>
                <a:cubicBezTo>
                  <a:pt x="181" y="258"/>
                  <a:pt x="181" y="258"/>
                  <a:pt x="181" y="258"/>
                </a:cubicBezTo>
                <a:cubicBezTo>
                  <a:pt x="190" y="256"/>
                  <a:pt x="197" y="249"/>
                  <a:pt x="200" y="240"/>
                </a:cubicBezTo>
                <a:cubicBezTo>
                  <a:pt x="221" y="240"/>
                  <a:pt x="221" y="240"/>
                  <a:pt x="221" y="240"/>
                </a:cubicBezTo>
                <a:cubicBezTo>
                  <a:pt x="212" y="264"/>
                  <a:pt x="197" y="280"/>
                  <a:pt x="181" y="284"/>
                </a:cubicBezTo>
                <a:close/>
                <a:moveTo>
                  <a:pt x="201" y="226"/>
                </a:moveTo>
                <a:cubicBezTo>
                  <a:pt x="198" y="216"/>
                  <a:pt x="191" y="208"/>
                  <a:pt x="181" y="205"/>
                </a:cubicBezTo>
                <a:cubicBezTo>
                  <a:pt x="181" y="181"/>
                  <a:pt x="181" y="181"/>
                  <a:pt x="181" y="181"/>
                </a:cubicBezTo>
                <a:cubicBezTo>
                  <a:pt x="215" y="181"/>
                  <a:pt x="215" y="181"/>
                  <a:pt x="215" y="181"/>
                </a:cubicBezTo>
                <a:cubicBezTo>
                  <a:pt x="217" y="190"/>
                  <a:pt x="223" y="198"/>
                  <a:pt x="232" y="201"/>
                </a:cubicBezTo>
                <a:cubicBezTo>
                  <a:pt x="231" y="210"/>
                  <a:pt x="229" y="218"/>
                  <a:pt x="227" y="226"/>
                </a:cubicBezTo>
                <a:lnTo>
                  <a:pt x="201" y="226"/>
                </a:lnTo>
                <a:close/>
                <a:moveTo>
                  <a:pt x="242" y="163"/>
                </a:moveTo>
                <a:cubicBezTo>
                  <a:pt x="249" y="163"/>
                  <a:pt x="254" y="169"/>
                  <a:pt x="254" y="176"/>
                </a:cubicBezTo>
                <a:cubicBezTo>
                  <a:pt x="254" y="182"/>
                  <a:pt x="249" y="188"/>
                  <a:pt x="242" y="188"/>
                </a:cubicBezTo>
                <a:cubicBezTo>
                  <a:pt x="235" y="188"/>
                  <a:pt x="229" y="182"/>
                  <a:pt x="229" y="176"/>
                </a:cubicBezTo>
                <a:cubicBezTo>
                  <a:pt x="229" y="169"/>
                  <a:pt x="235" y="163"/>
                  <a:pt x="242" y="163"/>
                </a:cubicBezTo>
                <a:close/>
                <a:moveTo>
                  <a:pt x="247" y="202"/>
                </a:moveTo>
                <a:cubicBezTo>
                  <a:pt x="258" y="201"/>
                  <a:pt x="266" y="192"/>
                  <a:pt x="269" y="181"/>
                </a:cubicBezTo>
                <a:cubicBezTo>
                  <a:pt x="285" y="181"/>
                  <a:pt x="285" y="181"/>
                  <a:pt x="285" y="181"/>
                </a:cubicBezTo>
                <a:cubicBezTo>
                  <a:pt x="284" y="197"/>
                  <a:pt x="279" y="212"/>
                  <a:pt x="272" y="226"/>
                </a:cubicBezTo>
                <a:cubicBezTo>
                  <a:pt x="242" y="226"/>
                  <a:pt x="242" y="226"/>
                  <a:pt x="242" y="226"/>
                </a:cubicBezTo>
                <a:cubicBezTo>
                  <a:pt x="244" y="218"/>
                  <a:pt x="245" y="211"/>
                  <a:pt x="247" y="202"/>
                </a:cubicBezTo>
                <a:close/>
                <a:moveTo>
                  <a:pt x="232" y="150"/>
                </a:moveTo>
                <a:cubicBezTo>
                  <a:pt x="225" y="153"/>
                  <a:pt x="219" y="159"/>
                  <a:pt x="216" y="166"/>
                </a:cubicBezTo>
                <a:cubicBezTo>
                  <a:pt x="181" y="166"/>
                  <a:pt x="181" y="166"/>
                  <a:pt x="181" y="166"/>
                </a:cubicBezTo>
                <a:cubicBezTo>
                  <a:pt x="181" y="121"/>
                  <a:pt x="181" y="121"/>
                  <a:pt x="181" y="121"/>
                </a:cubicBezTo>
                <a:cubicBezTo>
                  <a:pt x="227" y="121"/>
                  <a:pt x="227" y="121"/>
                  <a:pt x="227" y="121"/>
                </a:cubicBezTo>
                <a:cubicBezTo>
                  <a:pt x="229" y="130"/>
                  <a:pt x="231" y="140"/>
                  <a:pt x="232" y="150"/>
                </a:cubicBezTo>
                <a:close/>
                <a:moveTo>
                  <a:pt x="181" y="106"/>
                </a:moveTo>
                <a:cubicBezTo>
                  <a:pt x="181" y="63"/>
                  <a:pt x="181" y="63"/>
                  <a:pt x="181" y="63"/>
                </a:cubicBezTo>
                <a:cubicBezTo>
                  <a:pt x="197" y="66"/>
                  <a:pt x="212" y="83"/>
                  <a:pt x="222" y="106"/>
                </a:cubicBezTo>
                <a:lnTo>
                  <a:pt x="181" y="106"/>
                </a:lnTo>
                <a:close/>
                <a:moveTo>
                  <a:pt x="166" y="63"/>
                </a:moveTo>
                <a:cubicBezTo>
                  <a:pt x="166" y="106"/>
                  <a:pt x="166" y="106"/>
                  <a:pt x="166" y="106"/>
                </a:cubicBezTo>
                <a:cubicBezTo>
                  <a:pt x="144" y="106"/>
                  <a:pt x="144" y="106"/>
                  <a:pt x="144" y="106"/>
                </a:cubicBezTo>
                <a:cubicBezTo>
                  <a:pt x="142" y="101"/>
                  <a:pt x="138" y="96"/>
                  <a:pt x="132" y="92"/>
                </a:cubicBezTo>
                <a:cubicBezTo>
                  <a:pt x="142" y="76"/>
                  <a:pt x="154" y="66"/>
                  <a:pt x="166" y="63"/>
                </a:cubicBezTo>
                <a:close/>
                <a:moveTo>
                  <a:pt x="118" y="103"/>
                </a:moveTo>
                <a:cubicBezTo>
                  <a:pt x="125" y="103"/>
                  <a:pt x="130" y="109"/>
                  <a:pt x="130" y="116"/>
                </a:cubicBezTo>
                <a:cubicBezTo>
                  <a:pt x="130" y="122"/>
                  <a:pt x="125" y="128"/>
                  <a:pt x="118" y="128"/>
                </a:cubicBezTo>
                <a:cubicBezTo>
                  <a:pt x="111" y="128"/>
                  <a:pt x="105" y="122"/>
                  <a:pt x="105" y="116"/>
                </a:cubicBezTo>
                <a:cubicBezTo>
                  <a:pt x="105" y="109"/>
                  <a:pt x="111" y="103"/>
                  <a:pt x="118" y="103"/>
                </a:cubicBezTo>
                <a:close/>
                <a:moveTo>
                  <a:pt x="98" y="181"/>
                </a:moveTo>
                <a:cubicBezTo>
                  <a:pt x="99" y="197"/>
                  <a:pt x="101" y="212"/>
                  <a:pt x="105" y="226"/>
                </a:cubicBezTo>
                <a:cubicBezTo>
                  <a:pt x="75" y="226"/>
                  <a:pt x="75" y="226"/>
                  <a:pt x="75" y="226"/>
                </a:cubicBezTo>
                <a:cubicBezTo>
                  <a:pt x="67" y="212"/>
                  <a:pt x="63" y="197"/>
                  <a:pt x="62" y="181"/>
                </a:cubicBezTo>
                <a:lnTo>
                  <a:pt x="98" y="181"/>
                </a:lnTo>
                <a:close/>
                <a:moveTo>
                  <a:pt x="217" y="276"/>
                </a:moveTo>
                <a:cubicBezTo>
                  <a:pt x="225" y="267"/>
                  <a:pt x="232" y="255"/>
                  <a:pt x="237" y="240"/>
                </a:cubicBezTo>
                <a:cubicBezTo>
                  <a:pt x="263" y="240"/>
                  <a:pt x="263" y="240"/>
                  <a:pt x="263" y="240"/>
                </a:cubicBezTo>
                <a:cubicBezTo>
                  <a:pt x="251" y="256"/>
                  <a:pt x="235" y="268"/>
                  <a:pt x="217" y="276"/>
                </a:cubicBezTo>
                <a:close/>
                <a:moveTo>
                  <a:pt x="263" y="106"/>
                </a:moveTo>
                <a:cubicBezTo>
                  <a:pt x="237" y="106"/>
                  <a:pt x="237" y="106"/>
                  <a:pt x="237" y="106"/>
                </a:cubicBezTo>
                <a:cubicBezTo>
                  <a:pt x="232" y="92"/>
                  <a:pt x="226" y="80"/>
                  <a:pt x="218" y="71"/>
                </a:cubicBezTo>
                <a:cubicBezTo>
                  <a:pt x="236" y="79"/>
                  <a:pt x="251" y="91"/>
                  <a:pt x="263" y="106"/>
                </a:cubicBezTo>
                <a:close/>
                <a:moveTo>
                  <a:pt x="129" y="71"/>
                </a:moveTo>
                <a:cubicBezTo>
                  <a:pt x="125" y="76"/>
                  <a:pt x="121" y="82"/>
                  <a:pt x="118" y="88"/>
                </a:cubicBezTo>
                <a:cubicBezTo>
                  <a:pt x="106" y="88"/>
                  <a:pt x="96" y="96"/>
                  <a:pt x="92" y="106"/>
                </a:cubicBezTo>
                <a:cubicBezTo>
                  <a:pt x="84" y="106"/>
                  <a:pt x="84" y="106"/>
                  <a:pt x="84" y="106"/>
                </a:cubicBezTo>
                <a:cubicBezTo>
                  <a:pt x="96" y="91"/>
                  <a:pt x="111" y="79"/>
                  <a:pt x="129" y="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31" name="Google Shape;1026;p85">
            <a:extLst>
              <a:ext uri="{FF2B5EF4-FFF2-40B4-BE49-F238E27FC236}">
                <a16:creationId xmlns:a16="http://schemas.microsoft.com/office/drawing/2014/main" id="{C79E39DE-0F9C-F5D1-AC09-A216254B6362}"/>
              </a:ext>
            </a:extLst>
          </p:cNvPr>
          <p:cNvGrpSpPr/>
          <p:nvPr/>
        </p:nvGrpSpPr>
        <p:grpSpPr>
          <a:xfrm>
            <a:off x="4818396" y="4413387"/>
            <a:ext cx="365760" cy="365760"/>
            <a:chOff x="1210184" y="3004902"/>
            <a:chExt cx="453744" cy="453590"/>
          </a:xfrm>
          <a:solidFill>
            <a:schemeClr val="bg1"/>
          </a:solidFill>
        </p:grpSpPr>
        <p:sp>
          <p:nvSpPr>
            <p:cNvPr id="33" name="Google Shape;1027;p85">
              <a:extLst>
                <a:ext uri="{FF2B5EF4-FFF2-40B4-BE49-F238E27FC236}">
                  <a16:creationId xmlns:a16="http://schemas.microsoft.com/office/drawing/2014/main" id="{E4F3B6DB-41AA-0CA6-37F2-CAB766D56C6B}"/>
                </a:ext>
              </a:extLst>
            </p:cNvPr>
            <p:cNvSpPr/>
            <p:nvPr/>
          </p:nvSpPr>
          <p:spPr>
            <a:xfrm>
              <a:off x="1329607" y="3047741"/>
              <a:ext cx="211022" cy="213313"/>
            </a:xfrm>
            <a:custGeom>
              <a:avLst/>
              <a:gdLst/>
              <a:ahLst/>
              <a:cxnLst/>
              <a:rect l="l" t="t" r="r" b="b"/>
              <a:pathLst>
                <a:path w="211022" h="213313" extrusionOk="0">
                  <a:moveTo>
                    <a:pt x="124528" y="41359"/>
                  </a:moveTo>
                  <a:cubicBezTo>
                    <a:pt x="110074" y="60167"/>
                    <a:pt x="102313" y="83256"/>
                    <a:pt x="102471" y="106972"/>
                  </a:cubicBezTo>
                  <a:cubicBezTo>
                    <a:pt x="97728" y="96838"/>
                    <a:pt x="91158" y="87666"/>
                    <a:pt x="83092" y="79914"/>
                  </a:cubicBezTo>
                  <a:cubicBezTo>
                    <a:pt x="64406" y="62054"/>
                    <a:pt x="38064" y="52824"/>
                    <a:pt x="8854" y="53832"/>
                  </a:cubicBezTo>
                  <a:lnTo>
                    <a:pt x="0" y="54147"/>
                  </a:lnTo>
                  <a:lnTo>
                    <a:pt x="1418" y="62904"/>
                  </a:lnTo>
                  <a:cubicBezTo>
                    <a:pt x="10650" y="119194"/>
                    <a:pt x="45154" y="154693"/>
                    <a:pt x="96578" y="161434"/>
                  </a:cubicBezTo>
                  <a:lnTo>
                    <a:pt x="96578" y="213313"/>
                  </a:lnTo>
                  <a:lnTo>
                    <a:pt x="112333" y="213313"/>
                  </a:lnTo>
                  <a:lnTo>
                    <a:pt x="112333" y="190791"/>
                  </a:lnTo>
                  <a:cubicBezTo>
                    <a:pt x="113594" y="190791"/>
                    <a:pt x="114885" y="190791"/>
                    <a:pt x="116146" y="190791"/>
                  </a:cubicBezTo>
                  <a:cubicBezTo>
                    <a:pt x="153649" y="191935"/>
                    <a:pt x="184976" y="162474"/>
                    <a:pt x="186123" y="124983"/>
                  </a:cubicBezTo>
                  <a:cubicBezTo>
                    <a:pt x="186256" y="120652"/>
                    <a:pt x="185972" y="116321"/>
                    <a:pt x="185279" y="112043"/>
                  </a:cubicBezTo>
                  <a:lnTo>
                    <a:pt x="184460" y="105743"/>
                  </a:lnTo>
                  <a:lnTo>
                    <a:pt x="177937" y="105397"/>
                  </a:lnTo>
                  <a:cubicBezTo>
                    <a:pt x="176204" y="105397"/>
                    <a:pt x="174471" y="105397"/>
                    <a:pt x="172769" y="105397"/>
                  </a:cubicBezTo>
                  <a:cubicBezTo>
                    <a:pt x="197001" y="82780"/>
                    <a:pt x="210581" y="49674"/>
                    <a:pt x="211023" y="8788"/>
                  </a:cubicBezTo>
                  <a:lnTo>
                    <a:pt x="211023" y="0"/>
                  </a:lnTo>
                  <a:lnTo>
                    <a:pt x="202294" y="945"/>
                  </a:lnTo>
                  <a:cubicBezTo>
                    <a:pt x="169776" y="4253"/>
                    <a:pt x="142079" y="18679"/>
                    <a:pt x="124528" y="41359"/>
                  </a:cubicBezTo>
                  <a:close/>
                  <a:moveTo>
                    <a:pt x="96799" y="145716"/>
                  </a:moveTo>
                  <a:cubicBezTo>
                    <a:pt x="69669" y="141558"/>
                    <a:pt x="31447" y="125462"/>
                    <a:pt x="18811" y="69487"/>
                  </a:cubicBezTo>
                  <a:cubicBezTo>
                    <a:pt x="38726" y="69913"/>
                    <a:pt x="57789" y="77636"/>
                    <a:pt x="72378" y="91191"/>
                  </a:cubicBezTo>
                  <a:cubicBezTo>
                    <a:pt x="86400" y="104578"/>
                    <a:pt x="94656" y="123036"/>
                    <a:pt x="96673" y="145023"/>
                  </a:cubicBezTo>
                  <a:close/>
                  <a:moveTo>
                    <a:pt x="155155" y="160143"/>
                  </a:moveTo>
                  <a:cubicBezTo>
                    <a:pt x="144398" y="170689"/>
                    <a:pt x="129711" y="176242"/>
                    <a:pt x="114665" y="175451"/>
                  </a:cubicBezTo>
                  <a:cubicBezTo>
                    <a:pt x="115749" y="160398"/>
                    <a:pt x="122224" y="146239"/>
                    <a:pt x="132909" y="135573"/>
                  </a:cubicBezTo>
                  <a:cubicBezTo>
                    <a:pt x="143115" y="126271"/>
                    <a:pt x="156406" y="121087"/>
                    <a:pt x="170217" y="121021"/>
                  </a:cubicBezTo>
                  <a:cubicBezTo>
                    <a:pt x="170854" y="135586"/>
                    <a:pt x="165399" y="149760"/>
                    <a:pt x="155155" y="160143"/>
                  </a:cubicBezTo>
                  <a:close/>
                  <a:moveTo>
                    <a:pt x="118446" y="117933"/>
                  </a:moveTo>
                  <a:cubicBezTo>
                    <a:pt x="116493" y="91915"/>
                    <a:pt x="122731" y="68952"/>
                    <a:pt x="136659" y="51092"/>
                  </a:cubicBezTo>
                  <a:cubicBezTo>
                    <a:pt x="150586" y="33232"/>
                    <a:pt x="170375" y="22113"/>
                    <a:pt x="194984" y="17703"/>
                  </a:cubicBezTo>
                  <a:cubicBezTo>
                    <a:pt x="190699" y="84796"/>
                    <a:pt x="148696" y="109082"/>
                    <a:pt x="118446" y="1178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1028;p85">
              <a:extLst>
                <a:ext uri="{FF2B5EF4-FFF2-40B4-BE49-F238E27FC236}">
                  <a16:creationId xmlns:a16="http://schemas.microsoft.com/office/drawing/2014/main" id="{13D7A6CE-1CCB-65C1-7858-CBF0E9511194}"/>
                </a:ext>
              </a:extLst>
            </p:cNvPr>
            <p:cNvSpPr/>
            <p:nvPr/>
          </p:nvSpPr>
          <p:spPr>
            <a:xfrm>
              <a:off x="1210184" y="3004902"/>
              <a:ext cx="453744" cy="453590"/>
            </a:xfrm>
            <a:custGeom>
              <a:avLst/>
              <a:gdLst/>
              <a:ahLst/>
              <a:cxnLst/>
              <a:rect l="l" t="t" r="r" b="b"/>
              <a:pathLst>
                <a:path w="453744" h="453590" extrusionOk="0">
                  <a:moveTo>
                    <a:pt x="453744" y="0"/>
                  </a:moveTo>
                  <a:lnTo>
                    <a:pt x="0" y="0"/>
                  </a:lnTo>
                  <a:lnTo>
                    <a:pt x="0" y="453590"/>
                  </a:lnTo>
                  <a:lnTo>
                    <a:pt x="0" y="453590"/>
                  </a:lnTo>
                  <a:lnTo>
                    <a:pt x="0" y="453590"/>
                  </a:lnTo>
                  <a:lnTo>
                    <a:pt x="453744" y="453590"/>
                  </a:lnTo>
                  <a:lnTo>
                    <a:pt x="453744" y="453590"/>
                  </a:lnTo>
                  <a:lnTo>
                    <a:pt x="453744" y="453590"/>
                  </a:lnTo>
                  <a:close/>
                  <a:moveTo>
                    <a:pt x="19347" y="434218"/>
                  </a:moveTo>
                  <a:lnTo>
                    <a:pt x="19347" y="430533"/>
                  </a:lnTo>
                  <a:cubicBezTo>
                    <a:pt x="35102" y="414972"/>
                    <a:pt x="131806" y="319151"/>
                    <a:pt x="140881" y="310048"/>
                  </a:cubicBezTo>
                  <a:cubicBezTo>
                    <a:pt x="142929" y="308000"/>
                    <a:pt x="144662" y="306173"/>
                    <a:pt x="146175" y="304535"/>
                  </a:cubicBezTo>
                  <a:cubicBezTo>
                    <a:pt x="151595" y="298708"/>
                    <a:pt x="152036" y="298236"/>
                    <a:pt x="157077" y="298236"/>
                  </a:cubicBezTo>
                  <a:lnTo>
                    <a:pt x="253404" y="298236"/>
                  </a:lnTo>
                  <a:lnTo>
                    <a:pt x="254601" y="298236"/>
                  </a:lnTo>
                  <a:cubicBezTo>
                    <a:pt x="254601" y="298236"/>
                    <a:pt x="268056" y="296944"/>
                    <a:pt x="271522" y="303590"/>
                  </a:cubicBezTo>
                  <a:cubicBezTo>
                    <a:pt x="273750" y="308593"/>
                    <a:pt x="273434" y="314360"/>
                    <a:pt x="270671" y="319088"/>
                  </a:cubicBezTo>
                  <a:cubicBezTo>
                    <a:pt x="270022" y="320216"/>
                    <a:pt x="269140" y="321192"/>
                    <a:pt x="268087" y="321955"/>
                  </a:cubicBezTo>
                  <a:cubicBezTo>
                    <a:pt x="263972" y="322991"/>
                    <a:pt x="259715" y="323353"/>
                    <a:pt x="255483" y="323025"/>
                  </a:cubicBezTo>
                  <a:lnTo>
                    <a:pt x="251734" y="323025"/>
                  </a:lnTo>
                  <a:lnTo>
                    <a:pt x="166562" y="323025"/>
                  </a:lnTo>
                  <a:lnTo>
                    <a:pt x="166562" y="342398"/>
                  </a:lnTo>
                  <a:lnTo>
                    <a:pt x="251923" y="342398"/>
                  </a:lnTo>
                  <a:lnTo>
                    <a:pt x="255074" y="342398"/>
                  </a:lnTo>
                  <a:cubicBezTo>
                    <a:pt x="258688" y="342590"/>
                    <a:pt x="262315" y="342483"/>
                    <a:pt x="265913" y="342083"/>
                  </a:cubicBezTo>
                  <a:cubicBezTo>
                    <a:pt x="269174" y="342067"/>
                    <a:pt x="272398" y="341358"/>
                    <a:pt x="275366" y="340004"/>
                  </a:cubicBezTo>
                  <a:cubicBezTo>
                    <a:pt x="286016" y="336602"/>
                    <a:pt x="298400" y="328790"/>
                    <a:pt x="314092" y="311371"/>
                  </a:cubicBezTo>
                  <a:cubicBezTo>
                    <a:pt x="339899" y="282769"/>
                    <a:pt x="368604" y="256373"/>
                    <a:pt x="379412" y="246451"/>
                  </a:cubicBezTo>
                  <a:lnTo>
                    <a:pt x="382122" y="243931"/>
                  </a:lnTo>
                  <a:cubicBezTo>
                    <a:pt x="385412" y="241042"/>
                    <a:pt x="389656" y="239483"/>
                    <a:pt x="394033" y="239552"/>
                  </a:cubicBezTo>
                  <a:cubicBezTo>
                    <a:pt x="396591" y="239678"/>
                    <a:pt x="398964" y="240922"/>
                    <a:pt x="400524" y="242954"/>
                  </a:cubicBezTo>
                  <a:cubicBezTo>
                    <a:pt x="406605" y="250388"/>
                    <a:pt x="400524" y="259460"/>
                    <a:pt x="399011" y="260940"/>
                  </a:cubicBezTo>
                  <a:cubicBezTo>
                    <a:pt x="396364" y="263618"/>
                    <a:pt x="382185" y="277415"/>
                    <a:pt x="365768" y="293416"/>
                  </a:cubicBezTo>
                  <a:cubicBezTo>
                    <a:pt x="337882" y="320537"/>
                    <a:pt x="303189" y="354304"/>
                    <a:pt x="296730" y="361045"/>
                  </a:cubicBezTo>
                  <a:lnTo>
                    <a:pt x="296478" y="361329"/>
                  </a:lnTo>
                  <a:cubicBezTo>
                    <a:pt x="291184" y="366904"/>
                    <a:pt x="283149" y="375314"/>
                    <a:pt x="267079" y="375314"/>
                  </a:cubicBezTo>
                  <a:lnTo>
                    <a:pt x="177780" y="375314"/>
                  </a:lnTo>
                  <a:lnTo>
                    <a:pt x="117910" y="434344"/>
                  </a:lnTo>
                  <a:close/>
                  <a:moveTo>
                    <a:pt x="185689" y="394561"/>
                  </a:moveTo>
                  <a:lnTo>
                    <a:pt x="267110" y="394561"/>
                  </a:lnTo>
                  <a:cubicBezTo>
                    <a:pt x="283836" y="394624"/>
                    <a:pt x="299736" y="387303"/>
                    <a:pt x="310563" y="374558"/>
                  </a:cubicBezTo>
                  <a:lnTo>
                    <a:pt x="310815" y="374275"/>
                  </a:lnTo>
                  <a:cubicBezTo>
                    <a:pt x="317117" y="367786"/>
                    <a:pt x="353007" y="332759"/>
                    <a:pt x="379318" y="307150"/>
                  </a:cubicBezTo>
                  <a:cubicBezTo>
                    <a:pt x="396490" y="290424"/>
                    <a:pt x="410071" y="277226"/>
                    <a:pt x="412844" y="274391"/>
                  </a:cubicBezTo>
                  <a:cubicBezTo>
                    <a:pt x="421604" y="265539"/>
                    <a:pt x="428221" y="246041"/>
                    <a:pt x="415554" y="230575"/>
                  </a:cubicBezTo>
                  <a:cubicBezTo>
                    <a:pt x="410610" y="224385"/>
                    <a:pt x="403268" y="220583"/>
                    <a:pt x="395356" y="220117"/>
                  </a:cubicBezTo>
                  <a:cubicBezTo>
                    <a:pt x="385660" y="219651"/>
                    <a:pt x="376176" y="223050"/>
                    <a:pt x="368982" y="229567"/>
                  </a:cubicBezTo>
                  <a:lnTo>
                    <a:pt x="366304" y="232024"/>
                  </a:lnTo>
                  <a:cubicBezTo>
                    <a:pt x="355338" y="242135"/>
                    <a:pt x="326160" y="268973"/>
                    <a:pt x="299723" y="298172"/>
                  </a:cubicBezTo>
                  <a:cubicBezTo>
                    <a:pt x="297076" y="301133"/>
                    <a:pt x="294556" y="303685"/>
                    <a:pt x="292192" y="305984"/>
                  </a:cubicBezTo>
                  <a:cubicBezTo>
                    <a:pt x="291789" y="301956"/>
                    <a:pt x="290645" y="298037"/>
                    <a:pt x="288821" y="294424"/>
                  </a:cubicBezTo>
                  <a:cubicBezTo>
                    <a:pt x="281132" y="279682"/>
                    <a:pt x="262983" y="277604"/>
                    <a:pt x="252899" y="278675"/>
                  </a:cubicBezTo>
                  <a:lnTo>
                    <a:pt x="157077" y="278675"/>
                  </a:lnTo>
                  <a:cubicBezTo>
                    <a:pt x="143623" y="278675"/>
                    <a:pt x="138171" y="284470"/>
                    <a:pt x="131869" y="291274"/>
                  </a:cubicBezTo>
                  <a:cubicBezTo>
                    <a:pt x="130483" y="292755"/>
                    <a:pt x="128939" y="294424"/>
                    <a:pt x="127048" y="296283"/>
                  </a:cubicBezTo>
                  <a:cubicBezTo>
                    <a:pt x="119486" y="303874"/>
                    <a:pt x="50857" y="371881"/>
                    <a:pt x="19221" y="403191"/>
                  </a:cubicBezTo>
                  <a:lnTo>
                    <a:pt x="19221" y="19341"/>
                  </a:lnTo>
                  <a:lnTo>
                    <a:pt x="434397" y="19341"/>
                  </a:lnTo>
                  <a:lnTo>
                    <a:pt x="434397" y="434218"/>
                  </a:lnTo>
                  <a:lnTo>
                    <a:pt x="145324" y="4342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1" name="Google Shape;773;p79">
            <a:extLst>
              <a:ext uri="{FF2B5EF4-FFF2-40B4-BE49-F238E27FC236}">
                <a16:creationId xmlns:a16="http://schemas.microsoft.com/office/drawing/2014/main" id="{0FB512AB-E015-F9DA-390B-01C4C9CCC297}"/>
              </a:ext>
            </a:extLst>
          </p:cNvPr>
          <p:cNvSpPr/>
          <p:nvPr/>
        </p:nvSpPr>
        <p:spPr>
          <a:xfrm>
            <a:off x="4816435" y="2466222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2" y="161"/>
                </a:moveTo>
                <a:cubicBezTo>
                  <a:pt x="552" y="275"/>
                  <a:pt x="552" y="275"/>
                  <a:pt x="552" y="275"/>
                </a:cubicBezTo>
                <a:cubicBezTo>
                  <a:pt x="517" y="275"/>
                  <a:pt x="517" y="275"/>
                  <a:pt x="517" y="275"/>
                </a:cubicBezTo>
                <a:cubicBezTo>
                  <a:pt x="517" y="299"/>
                  <a:pt x="517" y="299"/>
                  <a:pt x="517" y="299"/>
                </a:cubicBezTo>
                <a:cubicBezTo>
                  <a:pt x="552" y="299"/>
                  <a:pt x="552" y="299"/>
                  <a:pt x="552" y="299"/>
                </a:cubicBezTo>
                <a:cubicBezTo>
                  <a:pt x="552" y="414"/>
                  <a:pt x="552" y="414"/>
                  <a:pt x="552" y="414"/>
                </a:cubicBezTo>
                <a:cubicBezTo>
                  <a:pt x="389" y="414"/>
                  <a:pt x="389" y="414"/>
                  <a:pt x="389" y="414"/>
                </a:cubicBezTo>
                <a:cubicBezTo>
                  <a:pt x="389" y="438"/>
                  <a:pt x="389" y="438"/>
                  <a:pt x="389" y="438"/>
                </a:cubicBezTo>
                <a:cubicBezTo>
                  <a:pt x="552" y="438"/>
                  <a:pt x="552" y="438"/>
                  <a:pt x="552" y="438"/>
                </a:cubicBezTo>
                <a:cubicBezTo>
                  <a:pt x="552" y="552"/>
                  <a:pt x="552" y="552"/>
                  <a:pt x="552" y="552"/>
                </a:cubicBezTo>
                <a:cubicBezTo>
                  <a:pt x="24" y="552"/>
                  <a:pt x="24" y="552"/>
                  <a:pt x="24" y="552"/>
                </a:cubicBezTo>
                <a:cubicBezTo>
                  <a:pt x="24" y="438"/>
                  <a:pt x="24" y="438"/>
                  <a:pt x="24" y="438"/>
                </a:cubicBezTo>
                <a:cubicBezTo>
                  <a:pt x="190" y="438"/>
                  <a:pt x="190" y="438"/>
                  <a:pt x="190" y="438"/>
                </a:cubicBezTo>
                <a:cubicBezTo>
                  <a:pt x="190" y="414"/>
                  <a:pt x="190" y="414"/>
                  <a:pt x="190" y="414"/>
                </a:cubicBezTo>
                <a:cubicBezTo>
                  <a:pt x="24" y="414"/>
                  <a:pt x="24" y="414"/>
                  <a:pt x="24" y="414"/>
                </a:cubicBezTo>
                <a:cubicBezTo>
                  <a:pt x="24" y="299"/>
                  <a:pt x="24" y="299"/>
                  <a:pt x="24" y="299"/>
                </a:cubicBezTo>
                <a:cubicBezTo>
                  <a:pt x="317" y="299"/>
                  <a:pt x="317" y="299"/>
                  <a:pt x="317" y="299"/>
                </a:cubicBezTo>
                <a:cubicBezTo>
                  <a:pt x="317" y="275"/>
                  <a:pt x="317" y="275"/>
                  <a:pt x="317" y="275"/>
                </a:cubicBezTo>
                <a:cubicBezTo>
                  <a:pt x="24" y="275"/>
                  <a:pt x="24" y="275"/>
                  <a:pt x="24" y="275"/>
                </a:cubicBezTo>
                <a:cubicBezTo>
                  <a:pt x="24" y="161"/>
                  <a:pt x="24" y="161"/>
                  <a:pt x="24" y="161"/>
                </a:cubicBezTo>
                <a:cubicBezTo>
                  <a:pt x="44" y="161"/>
                  <a:pt x="44" y="161"/>
                  <a:pt x="44" y="161"/>
                </a:cubicBezTo>
                <a:cubicBezTo>
                  <a:pt x="44" y="137"/>
                  <a:pt x="44" y="137"/>
                  <a:pt x="44" y="137"/>
                </a:cubicBezTo>
                <a:cubicBezTo>
                  <a:pt x="24" y="137"/>
                  <a:pt x="24" y="137"/>
                  <a:pt x="24" y="137"/>
                </a:cubicBezTo>
                <a:cubicBezTo>
                  <a:pt x="24" y="24"/>
                  <a:pt x="24" y="24"/>
                  <a:pt x="24" y="24"/>
                </a:cubicBezTo>
                <a:cubicBezTo>
                  <a:pt x="552" y="24"/>
                  <a:pt x="552" y="24"/>
                  <a:pt x="552" y="24"/>
                </a:cubicBezTo>
                <a:cubicBezTo>
                  <a:pt x="552" y="137"/>
                  <a:pt x="552" y="137"/>
                  <a:pt x="552" y="137"/>
                </a:cubicBezTo>
                <a:cubicBezTo>
                  <a:pt x="241" y="137"/>
                  <a:pt x="241" y="137"/>
                  <a:pt x="241" y="137"/>
                </a:cubicBezTo>
                <a:cubicBezTo>
                  <a:pt x="241" y="161"/>
                  <a:pt x="241" y="161"/>
                  <a:pt x="241" y="161"/>
                </a:cubicBezTo>
                <a:lnTo>
                  <a:pt x="552" y="161"/>
                </a:lnTo>
                <a:close/>
                <a:moveTo>
                  <a:pt x="190" y="117"/>
                </a:moveTo>
                <a:cubicBezTo>
                  <a:pt x="203" y="104"/>
                  <a:pt x="203" y="104"/>
                  <a:pt x="203" y="104"/>
                </a:cubicBezTo>
                <a:cubicBezTo>
                  <a:pt x="186" y="87"/>
                  <a:pt x="186" y="87"/>
                  <a:pt x="186" y="87"/>
                </a:cubicBezTo>
                <a:cubicBezTo>
                  <a:pt x="174" y="100"/>
                  <a:pt x="174" y="100"/>
                  <a:pt x="174" y="100"/>
                </a:cubicBezTo>
                <a:cubicBezTo>
                  <a:pt x="168" y="96"/>
                  <a:pt x="161" y="94"/>
                  <a:pt x="155" y="92"/>
                </a:cubicBezTo>
                <a:cubicBezTo>
                  <a:pt x="155" y="74"/>
                  <a:pt x="155" y="74"/>
                  <a:pt x="155" y="74"/>
                </a:cubicBezTo>
                <a:cubicBezTo>
                  <a:pt x="131" y="74"/>
                  <a:pt x="131" y="74"/>
                  <a:pt x="131" y="74"/>
                </a:cubicBezTo>
                <a:cubicBezTo>
                  <a:pt x="131" y="92"/>
                  <a:pt x="131" y="92"/>
                  <a:pt x="131" y="92"/>
                </a:cubicBezTo>
                <a:cubicBezTo>
                  <a:pt x="124" y="94"/>
                  <a:pt x="117" y="96"/>
                  <a:pt x="111" y="100"/>
                </a:cubicBezTo>
                <a:cubicBezTo>
                  <a:pt x="99" y="87"/>
                  <a:pt x="99" y="87"/>
                  <a:pt x="99" y="87"/>
                </a:cubicBezTo>
                <a:cubicBezTo>
                  <a:pt x="82" y="104"/>
                  <a:pt x="82" y="104"/>
                  <a:pt x="82" y="104"/>
                </a:cubicBezTo>
                <a:cubicBezTo>
                  <a:pt x="95" y="117"/>
                  <a:pt x="95" y="117"/>
                  <a:pt x="95" y="117"/>
                </a:cubicBezTo>
                <a:cubicBezTo>
                  <a:pt x="91" y="123"/>
                  <a:pt x="88" y="130"/>
                  <a:pt x="87" y="137"/>
                </a:cubicBezTo>
                <a:cubicBezTo>
                  <a:pt x="69" y="137"/>
                  <a:pt x="69" y="137"/>
                  <a:pt x="69" y="137"/>
                </a:cubicBezTo>
                <a:cubicBezTo>
                  <a:pt x="69" y="161"/>
                  <a:pt x="69" y="161"/>
                  <a:pt x="69" y="161"/>
                </a:cubicBezTo>
                <a:cubicBezTo>
                  <a:pt x="87" y="161"/>
                  <a:pt x="87" y="161"/>
                  <a:pt x="87" y="161"/>
                </a:cubicBezTo>
                <a:cubicBezTo>
                  <a:pt x="88" y="168"/>
                  <a:pt x="91" y="174"/>
                  <a:pt x="95" y="180"/>
                </a:cubicBezTo>
                <a:cubicBezTo>
                  <a:pt x="82" y="193"/>
                  <a:pt x="82" y="193"/>
                  <a:pt x="82" y="193"/>
                </a:cubicBezTo>
                <a:cubicBezTo>
                  <a:pt x="99" y="210"/>
                  <a:pt x="99" y="210"/>
                  <a:pt x="99" y="210"/>
                </a:cubicBezTo>
                <a:cubicBezTo>
                  <a:pt x="111" y="197"/>
                  <a:pt x="111" y="197"/>
                  <a:pt x="111" y="197"/>
                </a:cubicBezTo>
                <a:cubicBezTo>
                  <a:pt x="117" y="201"/>
                  <a:pt x="124" y="204"/>
                  <a:pt x="131" y="205"/>
                </a:cubicBezTo>
                <a:cubicBezTo>
                  <a:pt x="131" y="223"/>
                  <a:pt x="131" y="223"/>
                  <a:pt x="131" y="223"/>
                </a:cubicBezTo>
                <a:cubicBezTo>
                  <a:pt x="155" y="223"/>
                  <a:pt x="155" y="223"/>
                  <a:pt x="155" y="223"/>
                </a:cubicBezTo>
                <a:cubicBezTo>
                  <a:pt x="155" y="205"/>
                  <a:pt x="155" y="205"/>
                  <a:pt x="155" y="205"/>
                </a:cubicBezTo>
                <a:cubicBezTo>
                  <a:pt x="161" y="203"/>
                  <a:pt x="168" y="201"/>
                  <a:pt x="174" y="197"/>
                </a:cubicBezTo>
                <a:cubicBezTo>
                  <a:pt x="186" y="210"/>
                  <a:pt x="186" y="210"/>
                  <a:pt x="186" y="210"/>
                </a:cubicBezTo>
                <a:cubicBezTo>
                  <a:pt x="203" y="193"/>
                  <a:pt x="203" y="193"/>
                  <a:pt x="203" y="193"/>
                </a:cubicBezTo>
                <a:cubicBezTo>
                  <a:pt x="190" y="180"/>
                  <a:pt x="190" y="180"/>
                  <a:pt x="190" y="180"/>
                </a:cubicBezTo>
                <a:cubicBezTo>
                  <a:pt x="194" y="174"/>
                  <a:pt x="197" y="168"/>
                  <a:pt x="198" y="161"/>
                </a:cubicBezTo>
                <a:cubicBezTo>
                  <a:pt x="217" y="161"/>
                  <a:pt x="217" y="161"/>
                  <a:pt x="217" y="161"/>
                </a:cubicBezTo>
                <a:cubicBezTo>
                  <a:pt x="217" y="137"/>
                  <a:pt x="217" y="137"/>
                  <a:pt x="217" y="137"/>
                </a:cubicBezTo>
                <a:cubicBezTo>
                  <a:pt x="198" y="137"/>
                  <a:pt x="198" y="137"/>
                  <a:pt x="198" y="137"/>
                </a:cubicBezTo>
                <a:cubicBezTo>
                  <a:pt x="197" y="130"/>
                  <a:pt x="194" y="123"/>
                  <a:pt x="190" y="117"/>
                </a:cubicBezTo>
                <a:close/>
                <a:moveTo>
                  <a:pt x="176" y="149"/>
                </a:moveTo>
                <a:cubicBezTo>
                  <a:pt x="176" y="168"/>
                  <a:pt x="161" y="183"/>
                  <a:pt x="143" y="183"/>
                </a:cubicBezTo>
                <a:cubicBezTo>
                  <a:pt x="124" y="183"/>
                  <a:pt x="109" y="167"/>
                  <a:pt x="109" y="149"/>
                </a:cubicBezTo>
                <a:cubicBezTo>
                  <a:pt x="109" y="130"/>
                  <a:pt x="124" y="114"/>
                  <a:pt x="143" y="114"/>
                </a:cubicBezTo>
                <a:cubicBezTo>
                  <a:pt x="161" y="114"/>
                  <a:pt x="176" y="130"/>
                  <a:pt x="176" y="149"/>
                </a:cubicBezTo>
                <a:close/>
                <a:moveTo>
                  <a:pt x="368" y="319"/>
                </a:moveTo>
                <a:cubicBezTo>
                  <a:pt x="356" y="331"/>
                  <a:pt x="356" y="331"/>
                  <a:pt x="356" y="331"/>
                </a:cubicBezTo>
                <a:cubicBezTo>
                  <a:pt x="372" y="348"/>
                  <a:pt x="372" y="348"/>
                  <a:pt x="372" y="348"/>
                </a:cubicBezTo>
                <a:cubicBezTo>
                  <a:pt x="385" y="335"/>
                  <a:pt x="385" y="335"/>
                  <a:pt x="385" y="335"/>
                </a:cubicBezTo>
                <a:cubicBezTo>
                  <a:pt x="391" y="339"/>
                  <a:pt x="398" y="342"/>
                  <a:pt x="405" y="343"/>
                </a:cubicBezTo>
                <a:cubicBezTo>
                  <a:pt x="405" y="361"/>
                  <a:pt x="405" y="361"/>
                  <a:pt x="405" y="361"/>
                </a:cubicBezTo>
                <a:cubicBezTo>
                  <a:pt x="428" y="361"/>
                  <a:pt x="428" y="361"/>
                  <a:pt x="428" y="361"/>
                </a:cubicBezTo>
                <a:cubicBezTo>
                  <a:pt x="428" y="343"/>
                  <a:pt x="428" y="343"/>
                  <a:pt x="428" y="343"/>
                </a:cubicBezTo>
                <a:cubicBezTo>
                  <a:pt x="435" y="342"/>
                  <a:pt x="442" y="339"/>
                  <a:pt x="447" y="335"/>
                </a:cubicBezTo>
                <a:cubicBezTo>
                  <a:pt x="460" y="348"/>
                  <a:pt x="460" y="348"/>
                  <a:pt x="460" y="348"/>
                </a:cubicBezTo>
                <a:cubicBezTo>
                  <a:pt x="477" y="331"/>
                  <a:pt x="477" y="331"/>
                  <a:pt x="477" y="331"/>
                </a:cubicBezTo>
                <a:cubicBezTo>
                  <a:pt x="464" y="319"/>
                  <a:pt x="464" y="319"/>
                  <a:pt x="464" y="319"/>
                </a:cubicBezTo>
                <a:cubicBezTo>
                  <a:pt x="468" y="313"/>
                  <a:pt x="470" y="306"/>
                  <a:pt x="472" y="299"/>
                </a:cubicBezTo>
                <a:cubicBezTo>
                  <a:pt x="490" y="299"/>
                  <a:pt x="490" y="299"/>
                  <a:pt x="490" y="299"/>
                </a:cubicBezTo>
                <a:cubicBezTo>
                  <a:pt x="490" y="275"/>
                  <a:pt x="490" y="275"/>
                  <a:pt x="490" y="275"/>
                </a:cubicBezTo>
                <a:cubicBezTo>
                  <a:pt x="472" y="275"/>
                  <a:pt x="472" y="275"/>
                  <a:pt x="472" y="275"/>
                </a:cubicBezTo>
                <a:cubicBezTo>
                  <a:pt x="470" y="268"/>
                  <a:pt x="468" y="261"/>
                  <a:pt x="464" y="256"/>
                </a:cubicBezTo>
                <a:cubicBezTo>
                  <a:pt x="477" y="243"/>
                  <a:pt x="477" y="243"/>
                  <a:pt x="477" y="243"/>
                </a:cubicBezTo>
                <a:cubicBezTo>
                  <a:pt x="460" y="227"/>
                  <a:pt x="460" y="227"/>
                  <a:pt x="460" y="227"/>
                </a:cubicBezTo>
                <a:cubicBezTo>
                  <a:pt x="447" y="239"/>
                  <a:pt x="447" y="239"/>
                  <a:pt x="447" y="239"/>
                </a:cubicBezTo>
                <a:cubicBezTo>
                  <a:pt x="442" y="236"/>
                  <a:pt x="436" y="233"/>
                  <a:pt x="428" y="231"/>
                </a:cubicBezTo>
                <a:cubicBezTo>
                  <a:pt x="428" y="213"/>
                  <a:pt x="428" y="213"/>
                  <a:pt x="428" y="213"/>
                </a:cubicBezTo>
                <a:cubicBezTo>
                  <a:pt x="405" y="213"/>
                  <a:pt x="405" y="213"/>
                  <a:pt x="405" y="213"/>
                </a:cubicBezTo>
                <a:cubicBezTo>
                  <a:pt x="405" y="231"/>
                  <a:pt x="405" y="231"/>
                  <a:pt x="405" y="231"/>
                </a:cubicBezTo>
                <a:cubicBezTo>
                  <a:pt x="397" y="233"/>
                  <a:pt x="391" y="236"/>
                  <a:pt x="385" y="239"/>
                </a:cubicBezTo>
                <a:cubicBezTo>
                  <a:pt x="372" y="227"/>
                  <a:pt x="372" y="227"/>
                  <a:pt x="372" y="227"/>
                </a:cubicBezTo>
                <a:cubicBezTo>
                  <a:pt x="356" y="243"/>
                  <a:pt x="356" y="243"/>
                  <a:pt x="356" y="243"/>
                </a:cubicBezTo>
                <a:cubicBezTo>
                  <a:pt x="368" y="256"/>
                  <a:pt x="368" y="256"/>
                  <a:pt x="368" y="256"/>
                </a:cubicBezTo>
                <a:cubicBezTo>
                  <a:pt x="364" y="261"/>
                  <a:pt x="362" y="268"/>
                  <a:pt x="360" y="275"/>
                </a:cubicBezTo>
                <a:cubicBezTo>
                  <a:pt x="342" y="275"/>
                  <a:pt x="342" y="275"/>
                  <a:pt x="342" y="275"/>
                </a:cubicBezTo>
                <a:cubicBezTo>
                  <a:pt x="342" y="299"/>
                  <a:pt x="342" y="299"/>
                  <a:pt x="342" y="299"/>
                </a:cubicBezTo>
                <a:cubicBezTo>
                  <a:pt x="360" y="299"/>
                  <a:pt x="360" y="299"/>
                  <a:pt x="360" y="299"/>
                </a:cubicBezTo>
                <a:cubicBezTo>
                  <a:pt x="362" y="306"/>
                  <a:pt x="364" y="313"/>
                  <a:pt x="368" y="319"/>
                </a:cubicBezTo>
                <a:close/>
                <a:moveTo>
                  <a:pt x="382" y="287"/>
                </a:moveTo>
                <a:cubicBezTo>
                  <a:pt x="382" y="269"/>
                  <a:pt x="397" y="253"/>
                  <a:pt x="416" y="253"/>
                </a:cubicBezTo>
                <a:cubicBezTo>
                  <a:pt x="435" y="253"/>
                  <a:pt x="450" y="268"/>
                  <a:pt x="450" y="287"/>
                </a:cubicBezTo>
                <a:cubicBezTo>
                  <a:pt x="450" y="306"/>
                  <a:pt x="435" y="321"/>
                  <a:pt x="416" y="321"/>
                </a:cubicBezTo>
                <a:cubicBezTo>
                  <a:pt x="398" y="321"/>
                  <a:pt x="382" y="306"/>
                  <a:pt x="382" y="287"/>
                </a:cubicBezTo>
                <a:close/>
                <a:moveTo>
                  <a:pt x="302" y="351"/>
                </a:moveTo>
                <a:cubicBezTo>
                  <a:pt x="278" y="351"/>
                  <a:pt x="278" y="351"/>
                  <a:pt x="278" y="351"/>
                </a:cubicBezTo>
                <a:cubicBezTo>
                  <a:pt x="278" y="368"/>
                  <a:pt x="278" y="368"/>
                  <a:pt x="278" y="368"/>
                </a:cubicBezTo>
                <a:cubicBezTo>
                  <a:pt x="271" y="370"/>
                  <a:pt x="265" y="373"/>
                  <a:pt x="259" y="377"/>
                </a:cubicBezTo>
                <a:cubicBezTo>
                  <a:pt x="246" y="364"/>
                  <a:pt x="246" y="364"/>
                  <a:pt x="246" y="364"/>
                </a:cubicBezTo>
                <a:cubicBezTo>
                  <a:pt x="229" y="381"/>
                  <a:pt x="229" y="381"/>
                  <a:pt x="229" y="381"/>
                </a:cubicBezTo>
                <a:cubicBezTo>
                  <a:pt x="242" y="393"/>
                  <a:pt x="242" y="393"/>
                  <a:pt x="242" y="393"/>
                </a:cubicBezTo>
                <a:cubicBezTo>
                  <a:pt x="238" y="400"/>
                  <a:pt x="235" y="406"/>
                  <a:pt x="234" y="414"/>
                </a:cubicBezTo>
                <a:cubicBezTo>
                  <a:pt x="216" y="414"/>
                  <a:pt x="216" y="414"/>
                  <a:pt x="216" y="414"/>
                </a:cubicBezTo>
                <a:cubicBezTo>
                  <a:pt x="216" y="437"/>
                  <a:pt x="216" y="437"/>
                  <a:pt x="216" y="437"/>
                </a:cubicBezTo>
                <a:cubicBezTo>
                  <a:pt x="234" y="437"/>
                  <a:pt x="234" y="437"/>
                  <a:pt x="234" y="437"/>
                </a:cubicBezTo>
                <a:cubicBezTo>
                  <a:pt x="235" y="445"/>
                  <a:pt x="238" y="451"/>
                  <a:pt x="242" y="458"/>
                </a:cubicBezTo>
                <a:cubicBezTo>
                  <a:pt x="229" y="470"/>
                  <a:pt x="229" y="470"/>
                  <a:pt x="229" y="470"/>
                </a:cubicBezTo>
                <a:cubicBezTo>
                  <a:pt x="246" y="487"/>
                  <a:pt x="246" y="487"/>
                  <a:pt x="246" y="487"/>
                </a:cubicBezTo>
                <a:cubicBezTo>
                  <a:pt x="259" y="474"/>
                  <a:pt x="259" y="474"/>
                  <a:pt x="259" y="474"/>
                </a:cubicBezTo>
                <a:cubicBezTo>
                  <a:pt x="265" y="478"/>
                  <a:pt x="272" y="481"/>
                  <a:pt x="278" y="482"/>
                </a:cubicBezTo>
                <a:cubicBezTo>
                  <a:pt x="278" y="500"/>
                  <a:pt x="278" y="500"/>
                  <a:pt x="278" y="500"/>
                </a:cubicBezTo>
                <a:cubicBezTo>
                  <a:pt x="302" y="500"/>
                  <a:pt x="302" y="500"/>
                  <a:pt x="302" y="500"/>
                </a:cubicBezTo>
                <a:cubicBezTo>
                  <a:pt x="302" y="482"/>
                  <a:pt x="302" y="482"/>
                  <a:pt x="302" y="482"/>
                </a:cubicBezTo>
                <a:cubicBezTo>
                  <a:pt x="310" y="481"/>
                  <a:pt x="317" y="477"/>
                  <a:pt x="321" y="474"/>
                </a:cubicBezTo>
                <a:cubicBezTo>
                  <a:pt x="334" y="487"/>
                  <a:pt x="334" y="487"/>
                  <a:pt x="334" y="487"/>
                </a:cubicBezTo>
                <a:cubicBezTo>
                  <a:pt x="351" y="470"/>
                  <a:pt x="351" y="470"/>
                  <a:pt x="351" y="470"/>
                </a:cubicBezTo>
                <a:cubicBezTo>
                  <a:pt x="338" y="458"/>
                  <a:pt x="338" y="458"/>
                  <a:pt x="338" y="458"/>
                </a:cubicBezTo>
                <a:cubicBezTo>
                  <a:pt x="342" y="452"/>
                  <a:pt x="344" y="445"/>
                  <a:pt x="347" y="437"/>
                </a:cubicBezTo>
                <a:cubicBezTo>
                  <a:pt x="364" y="437"/>
                  <a:pt x="364" y="437"/>
                  <a:pt x="364" y="437"/>
                </a:cubicBezTo>
                <a:cubicBezTo>
                  <a:pt x="364" y="414"/>
                  <a:pt x="364" y="414"/>
                  <a:pt x="364" y="414"/>
                </a:cubicBezTo>
                <a:cubicBezTo>
                  <a:pt x="347" y="414"/>
                  <a:pt x="347" y="414"/>
                  <a:pt x="347" y="414"/>
                </a:cubicBezTo>
                <a:cubicBezTo>
                  <a:pt x="344" y="406"/>
                  <a:pt x="342" y="399"/>
                  <a:pt x="338" y="393"/>
                </a:cubicBezTo>
                <a:cubicBezTo>
                  <a:pt x="351" y="381"/>
                  <a:pt x="351" y="381"/>
                  <a:pt x="351" y="381"/>
                </a:cubicBezTo>
                <a:cubicBezTo>
                  <a:pt x="334" y="364"/>
                  <a:pt x="334" y="364"/>
                  <a:pt x="334" y="364"/>
                </a:cubicBezTo>
                <a:cubicBezTo>
                  <a:pt x="321" y="376"/>
                  <a:pt x="321" y="376"/>
                  <a:pt x="321" y="376"/>
                </a:cubicBezTo>
                <a:cubicBezTo>
                  <a:pt x="316" y="373"/>
                  <a:pt x="309" y="370"/>
                  <a:pt x="302" y="368"/>
                </a:cubicBezTo>
                <a:lnTo>
                  <a:pt x="302" y="351"/>
                </a:lnTo>
                <a:close/>
                <a:moveTo>
                  <a:pt x="324" y="425"/>
                </a:moveTo>
                <a:cubicBezTo>
                  <a:pt x="324" y="444"/>
                  <a:pt x="309" y="459"/>
                  <a:pt x="290" y="459"/>
                </a:cubicBezTo>
                <a:cubicBezTo>
                  <a:pt x="271" y="459"/>
                  <a:pt x="256" y="444"/>
                  <a:pt x="256" y="425"/>
                </a:cubicBezTo>
                <a:cubicBezTo>
                  <a:pt x="256" y="407"/>
                  <a:pt x="271" y="391"/>
                  <a:pt x="290" y="391"/>
                </a:cubicBezTo>
                <a:cubicBezTo>
                  <a:pt x="309" y="391"/>
                  <a:pt x="324" y="406"/>
                  <a:pt x="324" y="42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 b="1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2" name="Google Shape;960;p84">
            <a:extLst>
              <a:ext uri="{FF2B5EF4-FFF2-40B4-BE49-F238E27FC236}">
                <a16:creationId xmlns:a16="http://schemas.microsoft.com/office/drawing/2014/main" id="{5CC2EC32-397C-CDF0-1872-A10571330F96}"/>
              </a:ext>
            </a:extLst>
          </p:cNvPr>
          <p:cNvSpPr/>
          <p:nvPr/>
        </p:nvSpPr>
        <p:spPr>
          <a:xfrm>
            <a:off x="2152088" y="4400299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2" y="552"/>
                </a:moveTo>
                <a:cubicBezTo>
                  <a:pt x="25" y="552"/>
                  <a:pt x="25" y="552"/>
                  <a:pt x="25" y="552"/>
                </a:cubicBezTo>
                <a:cubicBezTo>
                  <a:pt x="25" y="25"/>
                  <a:pt x="25" y="25"/>
                  <a:pt x="25" y="25"/>
                </a:cubicBezTo>
                <a:cubicBezTo>
                  <a:pt x="552" y="25"/>
                  <a:pt x="552" y="25"/>
                  <a:pt x="552" y="25"/>
                </a:cubicBezTo>
                <a:lnTo>
                  <a:pt x="552" y="552"/>
                </a:lnTo>
                <a:close/>
                <a:moveTo>
                  <a:pt x="351" y="70"/>
                </a:moveTo>
                <a:cubicBezTo>
                  <a:pt x="351" y="70"/>
                  <a:pt x="351" y="70"/>
                  <a:pt x="351" y="70"/>
                </a:cubicBezTo>
                <a:moveTo>
                  <a:pt x="323" y="97"/>
                </a:moveTo>
                <a:cubicBezTo>
                  <a:pt x="323" y="97"/>
                  <a:pt x="323" y="97"/>
                  <a:pt x="323" y="97"/>
                </a:cubicBezTo>
                <a:moveTo>
                  <a:pt x="444" y="239"/>
                </a:moveTo>
                <a:cubicBezTo>
                  <a:pt x="286" y="239"/>
                  <a:pt x="286" y="239"/>
                  <a:pt x="286" y="239"/>
                </a:cubicBezTo>
                <a:cubicBezTo>
                  <a:pt x="286" y="104"/>
                  <a:pt x="286" y="104"/>
                  <a:pt x="286" y="104"/>
                </a:cubicBezTo>
                <a:cubicBezTo>
                  <a:pt x="444" y="104"/>
                  <a:pt x="444" y="104"/>
                  <a:pt x="444" y="104"/>
                </a:cubicBezTo>
                <a:lnTo>
                  <a:pt x="444" y="239"/>
                </a:lnTo>
                <a:close/>
                <a:moveTo>
                  <a:pt x="311" y="215"/>
                </a:moveTo>
                <a:cubicBezTo>
                  <a:pt x="420" y="215"/>
                  <a:pt x="420" y="215"/>
                  <a:pt x="420" y="215"/>
                </a:cubicBezTo>
                <a:cubicBezTo>
                  <a:pt x="420" y="128"/>
                  <a:pt x="420" y="128"/>
                  <a:pt x="420" y="128"/>
                </a:cubicBezTo>
                <a:cubicBezTo>
                  <a:pt x="311" y="128"/>
                  <a:pt x="311" y="128"/>
                  <a:pt x="311" y="128"/>
                </a:cubicBezTo>
                <a:lnTo>
                  <a:pt x="311" y="215"/>
                </a:lnTo>
                <a:close/>
                <a:moveTo>
                  <a:pt x="351" y="380"/>
                </a:moveTo>
                <a:cubicBezTo>
                  <a:pt x="307" y="380"/>
                  <a:pt x="307" y="380"/>
                  <a:pt x="307" y="380"/>
                </a:cubicBezTo>
                <a:cubicBezTo>
                  <a:pt x="386" y="259"/>
                  <a:pt x="386" y="259"/>
                  <a:pt x="386" y="259"/>
                </a:cubicBezTo>
                <a:cubicBezTo>
                  <a:pt x="376" y="350"/>
                  <a:pt x="376" y="350"/>
                  <a:pt x="376" y="350"/>
                </a:cubicBezTo>
                <a:cubicBezTo>
                  <a:pt x="420" y="350"/>
                  <a:pt x="420" y="350"/>
                  <a:pt x="420" y="350"/>
                </a:cubicBezTo>
                <a:cubicBezTo>
                  <a:pt x="341" y="471"/>
                  <a:pt x="341" y="471"/>
                  <a:pt x="341" y="471"/>
                </a:cubicBezTo>
                <a:lnTo>
                  <a:pt x="351" y="380"/>
                </a:lnTo>
                <a:close/>
                <a:moveTo>
                  <a:pt x="242" y="52"/>
                </a:moveTo>
                <a:cubicBezTo>
                  <a:pt x="242" y="244"/>
                  <a:pt x="242" y="244"/>
                  <a:pt x="242" y="244"/>
                </a:cubicBezTo>
                <a:cubicBezTo>
                  <a:pt x="241" y="244"/>
                  <a:pt x="241" y="244"/>
                  <a:pt x="241" y="244"/>
                </a:cubicBezTo>
                <a:cubicBezTo>
                  <a:pt x="222" y="244"/>
                  <a:pt x="199" y="259"/>
                  <a:pt x="199" y="277"/>
                </a:cubicBezTo>
                <a:cubicBezTo>
                  <a:pt x="199" y="393"/>
                  <a:pt x="199" y="393"/>
                  <a:pt x="199" y="393"/>
                </a:cubicBezTo>
                <a:cubicBezTo>
                  <a:pt x="199" y="426"/>
                  <a:pt x="180" y="462"/>
                  <a:pt x="145" y="462"/>
                </a:cubicBezTo>
                <a:cubicBezTo>
                  <a:pt x="127" y="462"/>
                  <a:pt x="108" y="451"/>
                  <a:pt x="99" y="435"/>
                </a:cubicBezTo>
                <a:cubicBezTo>
                  <a:pt x="90" y="419"/>
                  <a:pt x="91" y="400"/>
                  <a:pt x="102" y="382"/>
                </a:cubicBezTo>
                <a:cubicBezTo>
                  <a:pt x="110" y="369"/>
                  <a:pt x="120" y="353"/>
                  <a:pt x="131" y="337"/>
                </a:cubicBezTo>
                <a:cubicBezTo>
                  <a:pt x="147" y="312"/>
                  <a:pt x="164" y="287"/>
                  <a:pt x="177" y="262"/>
                </a:cubicBezTo>
                <a:cubicBezTo>
                  <a:pt x="191" y="235"/>
                  <a:pt x="198" y="215"/>
                  <a:pt x="201" y="193"/>
                </a:cubicBezTo>
                <a:cubicBezTo>
                  <a:pt x="214" y="188"/>
                  <a:pt x="223" y="175"/>
                  <a:pt x="223" y="161"/>
                </a:cubicBezTo>
                <a:cubicBezTo>
                  <a:pt x="223" y="136"/>
                  <a:pt x="223" y="136"/>
                  <a:pt x="223" y="136"/>
                </a:cubicBezTo>
                <a:cubicBezTo>
                  <a:pt x="211" y="136"/>
                  <a:pt x="211" y="136"/>
                  <a:pt x="211" y="136"/>
                </a:cubicBezTo>
                <a:cubicBezTo>
                  <a:pt x="211" y="98"/>
                  <a:pt x="211" y="98"/>
                  <a:pt x="211" y="98"/>
                </a:cubicBezTo>
                <a:cubicBezTo>
                  <a:pt x="197" y="98"/>
                  <a:pt x="197" y="98"/>
                  <a:pt x="197" y="98"/>
                </a:cubicBezTo>
                <a:cubicBezTo>
                  <a:pt x="197" y="136"/>
                  <a:pt x="197" y="136"/>
                  <a:pt x="197" y="136"/>
                </a:cubicBezTo>
                <a:cubicBezTo>
                  <a:pt x="180" y="136"/>
                  <a:pt x="180" y="136"/>
                  <a:pt x="180" y="136"/>
                </a:cubicBezTo>
                <a:cubicBezTo>
                  <a:pt x="180" y="98"/>
                  <a:pt x="180" y="98"/>
                  <a:pt x="180" y="98"/>
                </a:cubicBezTo>
                <a:cubicBezTo>
                  <a:pt x="166" y="98"/>
                  <a:pt x="166" y="98"/>
                  <a:pt x="166" y="98"/>
                </a:cubicBezTo>
                <a:cubicBezTo>
                  <a:pt x="166" y="136"/>
                  <a:pt x="166" y="136"/>
                  <a:pt x="166" y="136"/>
                </a:cubicBezTo>
                <a:cubicBezTo>
                  <a:pt x="154" y="136"/>
                  <a:pt x="154" y="136"/>
                  <a:pt x="154" y="136"/>
                </a:cubicBezTo>
                <a:cubicBezTo>
                  <a:pt x="154" y="161"/>
                  <a:pt x="154" y="161"/>
                  <a:pt x="154" y="161"/>
                </a:cubicBezTo>
                <a:cubicBezTo>
                  <a:pt x="154" y="175"/>
                  <a:pt x="162" y="187"/>
                  <a:pt x="174" y="192"/>
                </a:cubicBezTo>
                <a:cubicBezTo>
                  <a:pt x="172" y="212"/>
                  <a:pt x="165" y="229"/>
                  <a:pt x="154" y="250"/>
                </a:cubicBezTo>
                <a:cubicBezTo>
                  <a:pt x="141" y="274"/>
                  <a:pt x="123" y="301"/>
                  <a:pt x="107" y="325"/>
                </a:cubicBezTo>
                <a:cubicBezTo>
                  <a:pt x="97" y="341"/>
                  <a:pt x="87" y="356"/>
                  <a:pt x="80" y="368"/>
                </a:cubicBezTo>
                <a:cubicBezTo>
                  <a:pt x="64" y="395"/>
                  <a:pt x="64" y="426"/>
                  <a:pt x="78" y="451"/>
                </a:cubicBezTo>
                <a:cubicBezTo>
                  <a:pt x="92" y="474"/>
                  <a:pt x="117" y="488"/>
                  <a:pt x="144" y="488"/>
                </a:cubicBezTo>
                <a:cubicBezTo>
                  <a:pt x="144" y="488"/>
                  <a:pt x="145" y="488"/>
                  <a:pt x="145" y="488"/>
                </a:cubicBezTo>
                <a:cubicBezTo>
                  <a:pt x="200" y="487"/>
                  <a:pt x="225" y="438"/>
                  <a:pt x="225" y="393"/>
                </a:cubicBezTo>
                <a:cubicBezTo>
                  <a:pt x="225" y="277"/>
                  <a:pt x="225" y="277"/>
                  <a:pt x="225" y="277"/>
                </a:cubicBezTo>
                <a:cubicBezTo>
                  <a:pt x="225" y="274"/>
                  <a:pt x="236" y="270"/>
                  <a:pt x="241" y="270"/>
                </a:cubicBezTo>
                <a:cubicBezTo>
                  <a:pt x="242" y="270"/>
                  <a:pt x="242" y="270"/>
                  <a:pt x="242" y="270"/>
                </a:cubicBezTo>
                <a:cubicBezTo>
                  <a:pt x="242" y="520"/>
                  <a:pt x="242" y="520"/>
                  <a:pt x="242" y="520"/>
                </a:cubicBezTo>
                <a:cubicBezTo>
                  <a:pt x="494" y="520"/>
                  <a:pt x="494" y="520"/>
                  <a:pt x="494" y="520"/>
                </a:cubicBezTo>
                <a:cubicBezTo>
                  <a:pt x="494" y="52"/>
                  <a:pt x="494" y="52"/>
                  <a:pt x="494" y="52"/>
                </a:cubicBezTo>
                <a:lnTo>
                  <a:pt x="242" y="52"/>
                </a:lnTo>
                <a:close/>
                <a:moveTo>
                  <a:pt x="470" y="497"/>
                </a:moveTo>
                <a:cubicBezTo>
                  <a:pt x="265" y="497"/>
                  <a:pt x="265" y="497"/>
                  <a:pt x="265" y="497"/>
                </a:cubicBezTo>
                <a:cubicBezTo>
                  <a:pt x="265" y="75"/>
                  <a:pt x="265" y="75"/>
                  <a:pt x="265" y="75"/>
                </a:cubicBezTo>
                <a:cubicBezTo>
                  <a:pt x="470" y="75"/>
                  <a:pt x="470" y="75"/>
                  <a:pt x="470" y="75"/>
                </a:cubicBezTo>
                <a:lnTo>
                  <a:pt x="470" y="49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6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3" name="Google Shape;1916;p95">
            <a:extLst>
              <a:ext uri="{FF2B5EF4-FFF2-40B4-BE49-F238E27FC236}">
                <a16:creationId xmlns:a16="http://schemas.microsoft.com/office/drawing/2014/main" id="{EBB53F57-93B2-CBDC-DFB6-423BD18B8BAC}"/>
              </a:ext>
            </a:extLst>
          </p:cNvPr>
          <p:cNvSpPr/>
          <p:nvPr/>
        </p:nvSpPr>
        <p:spPr>
          <a:xfrm>
            <a:off x="2161851" y="2494984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248" y="456"/>
                </a:moveTo>
                <a:cubicBezTo>
                  <a:pt x="247" y="456"/>
                  <a:pt x="247" y="456"/>
                  <a:pt x="247" y="456"/>
                </a:cubicBezTo>
                <a:cubicBezTo>
                  <a:pt x="239" y="456"/>
                  <a:pt x="233" y="450"/>
                  <a:pt x="233" y="442"/>
                </a:cubicBezTo>
                <a:cubicBezTo>
                  <a:pt x="233" y="435"/>
                  <a:pt x="233" y="435"/>
                  <a:pt x="233" y="435"/>
                </a:cubicBezTo>
                <a:cubicBezTo>
                  <a:pt x="200" y="437"/>
                  <a:pt x="173" y="437"/>
                  <a:pt x="139" y="435"/>
                </a:cubicBezTo>
                <a:cubicBezTo>
                  <a:pt x="139" y="442"/>
                  <a:pt x="139" y="442"/>
                  <a:pt x="139" y="442"/>
                </a:cubicBezTo>
                <a:cubicBezTo>
                  <a:pt x="139" y="450"/>
                  <a:pt x="133" y="456"/>
                  <a:pt x="125" y="456"/>
                </a:cubicBezTo>
                <a:cubicBezTo>
                  <a:pt x="124" y="456"/>
                  <a:pt x="124" y="456"/>
                  <a:pt x="124" y="456"/>
                </a:cubicBezTo>
                <a:cubicBezTo>
                  <a:pt x="85" y="456"/>
                  <a:pt x="85" y="456"/>
                  <a:pt x="85" y="456"/>
                </a:cubicBezTo>
                <a:cubicBezTo>
                  <a:pt x="76" y="456"/>
                  <a:pt x="70" y="450"/>
                  <a:pt x="70" y="442"/>
                </a:cubicBezTo>
                <a:cubicBezTo>
                  <a:pt x="70" y="424"/>
                  <a:pt x="70" y="424"/>
                  <a:pt x="70" y="424"/>
                </a:cubicBezTo>
                <a:cubicBezTo>
                  <a:pt x="66" y="423"/>
                  <a:pt x="66" y="423"/>
                  <a:pt x="66" y="423"/>
                </a:cubicBezTo>
                <a:cubicBezTo>
                  <a:pt x="66" y="351"/>
                  <a:pt x="66" y="351"/>
                  <a:pt x="66" y="351"/>
                </a:cubicBezTo>
                <a:cubicBezTo>
                  <a:pt x="63" y="350"/>
                  <a:pt x="63" y="350"/>
                  <a:pt x="63" y="350"/>
                </a:cubicBezTo>
                <a:cubicBezTo>
                  <a:pt x="55" y="349"/>
                  <a:pt x="50" y="342"/>
                  <a:pt x="51" y="334"/>
                </a:cubicBezTo>
                <a:cubicBezTo>
                  <a:pt x="52" y="314"/>
                  <a:pt x="52" y="314"/>
                  <a:pt x="52" y="314"/>
                </a:cubicBezTo>
                <a:cubicBezTo>
                  <a:pt x="53" y="308"/>
                  <a:pt x="58" y="302"/>
                  <a:pt x="68" y="301"/>
                </a:cubicBezTo>
                <a:cubicBezTo>
                  <a:pt x="79" y="300"/>
                  <a:pt x="79" y="300"/>
                  <a:pt x="79" y="300"/>
                </a:cubicBezTo>
                <a:cubicBezTo>
                  <a:pt x="89" y="278"/>
                  <a:pt x="89" y="278"/>
                  <a:pt x="89" y="278"/>
                </a:cubicBezTo>
                <a:cubicBezTo>
                  <a:pt x="92" y="270"/>
                  <a:pt x="100" y="264"/>
                  <a:pt x="109" y="264"/>
                </a:cubicBezTo>
                <a:cubicBezTo>
                  <a:pt x="159" y="258"/>
                  <a:pt x="208" y="258"/>
                  <a:pt x="263" y="264"/>
                </a:cubicBezTo>
                <a:cubicBezTo>
                  <a:pt x="272" y="264"/>
                  <a:pt x="280" y="270"/>
                  <a:pt x="283" y="278"/>
                </a:cubicBezTo>
                <a:cubicBezTo>
                  <a:pt x="293" y="300"/>
                  <a:pt x="293" y="300"/>
                  <a:pt x="293" y="300"/>
                </a:cubicBezTo>
                <a:cubicBezTo>
                  <a:pt x="304" y="301"/>
                  <a:pt x="304" y="301"/>
                  <a:pt x="304" y="301"/>
                </a:cubicBezTo>
                <a:cubicBezTo>
                  <a:pt x="314" y="302"/>
                  <a:pt x="319" y="308"/>
                  <a:pt x="320" y="314"/>
                </a:cubicBezTo>
                <a:cubicBezTo>
                  <a:pt x="320" y="315"/>
                  <a:pt x="320" y="315"/>
                  <a:pt x="320" y="315"/>
                </a:cubicBezTo>
                <a:cubicBezTo>
                  <a:pt x="322" y="334"/>
                  <a:pt x="322" y="334"/>
                  <a:pt x="322" y="334"/>
                </a:cubicBezTo>
                <a:cubicBezTo>
                  <a:pt x="323" y="342"/>
                  <a:pt x="317" y="349"/>
                  <a:pt x="309" y="350"/>
                </a:cubicBezTo>
                <a:cubicBezTo>
                  <a:pt x="307" y="351"/>
                  <a:pt x="307" y="351"/>
                  <a:pt x="307" y="351"/>
                </a:cubicBezTo>
                <a:cubicBezTo>
                  <a:pt x="307" y="351"/>
                  <a:pt x="307" y="351"/>
                  <a:pt x="307" y="351"/>
                </a:cubicBezTo>
                <a:cubicBezTo>
                  <a:pt x="307" y="423"/>
                  <a:pt x="307" y="423"/>
                  <a:pt x="307" y="423"/>
                </a:cubicBezTo>
                <a:cubicBezTo>
                  <a:pt x="302" y="424"/>
                  <a:pt x="302" y="424"/>
                  <a:pt x="302" y="424"/>
                </a:cubicBezTo>
                <a:cubicBezTo>
                  <a:pt x="302" y="442"/>
                  <a:pt x="302" y="442"/>
                  <a:pt x="302" y="442"/>
                </a:cubicBezTo>
                <a:cubicBezTo>
                  <a:pt x="302" y="450"/>
                  <a:pt x="296" y="456"/>
                  <a:pt x="287" y="456"/>
                </a:cubicBezTo>
                <a:lnTo>
                  <a:pt x="248" y="456"/>
                </a:lnTo>
                <a:close/>
                <a:moveTo>
                  <a:pt x="115" y="442"/>
                </a:moveTo>
                <a:cubicBezTo>
                  <a:pt x="115" y="442"/>
                  <a:pt x="115" y="442"/>
                  <a:pt x="115" y="443"/>
                </a:cubicBezTo>
                <a:lnTo>
                  <a:pt x="115" y="442"/>
                </a:lnTo>
                <a:close/>
                <a:moveTo>
                  <a:pt x="257" y="442"/>
                </a:moveTo>
                <a:cubicBezTo>
                  <a:pt x="257" y="442"/>
                  <a:pt x="257" y="442"/>
                  <a:pt x="257" y="442"/>
                </a:cubicBezTo>
                <a:cubicBezTo>
                  <a:pt x="257" y="442"/>
                  <a:pt x="257" y="442"/>
                  <a:pt x="257" y="442"/>
                </a:cubicBezTo>
                <a:close/>
                <a:moveTo>
                  <a:pt x="257" y="434"/>
                </a:moveTo>
                <a:cubicBezTo>
                  <a:pt x="279" y="434"/>
                  <a:pt x="279" y="434"/>
                  <a:pt x="279" y="434"/>
                </a:cubicBezTo>
                <a:cubicBezTo>
                  <a:pt x="279" y="408"/>
                  <a:pt x="279" y="408"/>
                  <a:pt x="279" y="408"/>
                </a:cubicBezTo>
                <a:cubicBezTo>
                  <a:pt x="283" y="407"/>
                  <a:pt x="283" y="407"/>
                  <a:pt x="283" y="407"/>
                </a:cubicBezTo>
                <a:cubicBezTo>
                  <a:pt x="283" y="353"/>
                  <a:pt x="283" y="353"/>
                  <a:pt x="283" y="353"/>
                </a:cubicBezTo>
                <a:cubicBezTo>
                  <a:pt x="278" y="333"/>
                  <a:pt x="278" y="333"/>
                  <a:pt x="278" y="333"/>
                </a:cubicBezTo>
                <a:cubicBezTo>
                  <a:pt x="298" y="330"/>
                  <a:pt x="298" y="330"/>
                  <a:pt x="298" y="330"/>
                </a:cubicBezTo>
                <a:cubicBezTo>
                  <a:pt x="297" y="323"/>
                  <a:pt x="297" y="323"/>
                  <a:pt x="297" y="323"/>
                </a:cubicBezTo>
                <a:cubicBezTo>
                  <a:pt x="276" y="322"/>
                  <a:pt x="276" y="322"/>
                  <a:pt x="276" y="322"/>
                </a:cubicBezTo>
                <a:cubicBezTo>
                  <a:pt x="261" y="286"/>
                  <a:pt x="261" y="286"/>
                  <a:pt x="261" y="286"/>
                </a:cubicBezTo>
                <a:cubicBezTo>
                  <a:pt x="261" y="286"/>
                  <a:pt x="261" y="286"/>
                  <a:pt x="261" y="286"/>
                </a:cubicBezTo>
                <a:cubicBezTo>
                  <a:pt x="207" y="280"/>
                  <a:pt x="160" y="280"/>
                  <a:pt x="111" y="286"/>
                </a:cubicBezTo>
                <a:cubicBezTo>
                  <a:pt x="111" y="286"/>
                  <a:pt x="111" y="286"/>
                  <a:pt x="111" y="286"/>
                </a:cubicBezTo>
                <a:cubicBezTo>
                  <a:pt x="96" y="322"/>
                  <a:pt x="96" y="322"/>
                  <a:pt x="96" y="322"/>
                </a:cubicBezTo>
                <a:cubicBezTo>
                  <a:pt x="75" y="323"/>
                  <a:pt x="75" y="323"/>
                  <a:pt x="75" y="323"/>
                </a:cubicBezTo>
                <a:cubicBezTo>
                  <a:pt x="75" y="330"/>
                  <a:pt x="75" y="330"/>
                  <a:pt x="75" y="330"/>
                </a:cubicBezTo>
                <a:cubicBezTo>
                  <a:pt x="94" y="333"/>
                  <a:pt x="94" y="333"/>
                  <a:pt x="94" y="333"/>
                </a:cubicBezTo>
                <a:cubicBezTo>
                  <a:pt x="89" y="353"/>
                  <a:pt x="89" y="353"/>
                  <a:pt x="89" y="353"/>
                </a:cubicBezTo>
                <a:cubicBezTo>
                  <a:pt x="89" y="407"/>
                  <a:pt x="89" y="407"/>
                  <a:pt x="89" y="407"/>
                </a:cubicBezTo>
                <a:cubicBezTo>
                  <a:pt x="94" y="408"/>
                  <a:pt x="94" y="408"/>
                  <a:pt x="94" y="408"/>
                </a:cubicBezTo>
                <a:cubicBezTo>
                  <a:pt x="94" y="434"/>
                  <a:pt x="94" y="434"/>
                  <a:pt x="94" y="434"/>
                </a:cubicBezTo>
                <a:cubicBezTo>
                  <a:pt x="115" y="434"/>
                  <a:pt x="115" y="434"/>
                  <a:pt x="115" y="434"/>
                </a:cubicBezTo>
                <a:cubicBezTo>
                  <a:pt x="115" y="412"/>
                  <a:pt x="115" y="412"/>
                  <a:pt x="115" y="412"/>
                </a:cubicBezTo>
                <a:cubicBezTo>
                  <a:pt x="128" y="412"/>
                  <a:pt x="128" y="412"/>
                  <a:pt x="128" y="412"/>
                </a:cubicBezTo>
                <a:cubicBezTo>
                  <a:pt x="171" y="415"/>
                  <a:pt x="202" y="415"/>
                  <a:pt x="244" y="412"/>
                </a:cubicBezTo>
                <a:cubicBezTo>
                  <a:pt x="257" y="412"/>
                  <a:pt x="257" y="412"/>
                  <a:pt x="257" y="412"/>
                </a:cubicBezTo>
                <a:lnTo>
                  <a:pt x="257" y="434"/>
                </a:lnTo>
                <a:close/>
                <a:moveTo>
                  <a:pt x="68" y="328"/>
                </a:moveTo>
                <a:cubicBezTo>
                  <a:pt x="68" y="328"/>
                  <a:pt x="68" y="328"/>
                  <a:pt x="68" y="328"/>
                </a:cubicBezTo>
                <a:cubicBezTo>
                  <a:pt x="68" y="328"/>
                  <a:pt x="68" y="328"/>
                  <a:pt x="68" y="328"/>
                </a:cubicBezTo>
                <a:close/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4" y="551"/>
                  <a:pt x="24" y="551"/>
                  <a:pt x="24" y="551"/>
                </a:cubicBezTo>
                <a:cubicBezTo>
                  <a:pt x="24" y="25"/>
                  <a:pt x="24" y="25"/>
                  <a:pt x="24" y="25"/>
                </a:cubicBezTo>
                <a:cubicBezTo>
                  <a:pt x="551" y="25"/>
                  <a:pt x="551" y="25"/>
                  <a:pt x="551" y="25"/>
                </a:cubicBezTo>
                <a:lnTo>
                  <a:pt x="551" y="551"/>
                </a:lnTo>
                <a:close/>
                <a:moveTo>
                  <a:pt x="357" y="155"/>
                </a:moveTo>
                <a:cubicBezTo>
                  <a:pt x="397" y="176"/>
                  <a:pt x="397" y="176"/>
                  <a:pt x="397" y="176"/>
                </a:cubicBezTo>
                <a:cubicBezTo>
                  <a:pt x="405" y="170"/>
                  <a:pt x="414" y="165"/>
                  <a:pt x="425" y="163"/>
                </a:cubicBezTo>
                <a:cubicBezTo>
                  <a:pt x="352" y="125"/>
                  <a:pt x="352" y="125"/>
                  <a:pt x="352" y="125"/>
                </a:cubicBezTo>
                <a:cubicBezTo>
                  <a:pt x="355" y="132"/>
                  <a:pt x="357" y="139"/>
                  <a:pt x="357" y="146"/>
                </a:cubicBezTo>
                <a:cubicBezTo>
                  <a:pt x="357" y="149"/>
                  <a:pt x="357" y="152"/>
                  <a:pt x="357" y="155"/>
                </a:cubicBezTo>
                <a:close/>
                <a:moveTo>
                  <a:pt x="350" y="171"/>
                </a:moveTo>
                <a:cubicBezTo>
                  <a:pt x="345" y="179"/>
                  <a:pt x="339" y="185"/>
                  <a:pt x="331" y="189"/>
                </a:cubicBezTo>
                <a:cubicBezTo>
                  <a:pt x="372" y="210"/>
                  <a:pt x="372" y="210"/>
                  <a:pt x="372" y="210"/>
                </a:cubicBezTo>
                <a:cubicBezTo>
                  <a:pt x="375" y="202"/>
                  <a:pt x="379" y="195"/>
                  <a:pt x="384" y="189"/>
                </a:cubicBezTo>
                <a:lnTo>
                  <a:pt x="350" y="171"/>
                </a:lnTo>
                <a:close/>
                <a:moveTo>
                  <a:pt x="337" y="124"/>
                </a:moveTo>
                <a:cubicBezTo>
                  <a:pt x="331" y="117"/>
                  <a:pt x="321" y="112"/>
                  <a:pt x="311" y="112"/>
                </a:cubicBezTo>
                <a:cubicBezTo>
                  <a:pt x="292" y="112"/>
                  <a:pt x="276" y="127"/>
                  <a:pt x="276" y="146"/>
                </a:cubicBezTo>
                <a:cubicBezTo>
                  <a:pt x="276" y="165"/>
                  <a:pt x="292" y="181"/>
                  <a:pt x="311" y="181"/>
                </a:cubicBezTo>
                <a:cubicBezTo>
                  <a:pt x="312" y="181"/>
                  <a:pt x="314" y="181"/>
                  <a:pt x="315" y="181"/>
                </a:cubicBezTo>
                <a:cubicBezTo>
                  <a:pt x="332" y="178"/>
                  <a:pt x="345" y="164"/>
                  <a:pt x="345" y="146"/>
                </a:cubicBezTo>
                <a:cubicBezTo>
                  <a:pt x="345" y="138"/>
                  <a:pt x="342" y="130"/>
                  <a:pt x="337" y="124"/>
                </a:cubicBezTo>
                <a:close/>
                <a:moveTo>
                  <a:pt x="300" y="146"/>
                </a:moveTo>
                <a:cubicBezTo>
                  <a:pt x="300" y="141"/>
                  <a:pt x="305" y="136"/>
                  <a:pt x="311" y="136"/>
                </a:cubicBezTo>
                <a:cubicBezTo>
                  <a:pt x="317" y="136"/>
                  <a:pt x="321" y="141"/>
                  <a:pt x="321" y="146"/>
                </a:cubicBezTo>
                <a:cubicBezTo>
                  <a:pt x="321" y="152"/>
                  <a:pt x="317" y="157"/>
                  <a:pt x="311" y="157"/>
                </a:cubicBezTo>
                <a:cubicBezTo>
                  <a:pt x="305" y="157"/>
                  <a:pt x="300" y="152"/>
                  <a:pt x="300" y="146"/>
                </a:cubicBezTo>
                <a:close/>
                <a:moveTo>
                  <a:pt x="441" y="289"/>
                </a:moveTo>
                <a:cubicBezTo>
                  <a:pt x="441" y="289"/>
                  <a:pt x="441" y="289"/>
                  <a:pt x="441" y="289"/>
                </a:cubicBezTo>
                <a:cubicBezTo>
                  <a:pt x="441" y="289"/>
                  <a:pt x="441" y="289"/>
                  <a:pt x="441" y="289"/>
                </a:cubicBezTo>
                <a:cubicBezTo>
                  <a:pt x="441" y="289"/>
                  <a:pt x="441" y="289"/>
                  <a:pt x="441" y="289"/>
                </a:cubicBezTo>
                <a:close/>
                <a:moveTo>
                  <a:pt x="503" y="269"/>
                </a:moveTo>
                <a:cubicBezTo>
                  <a:pt x="500" y="269"/>
                  <a:pt x="500" y="269"/>
                  <a:pt x="500" y="269"/>
                </a:cubicBezTo>
                <a:cubicBezTo>
                  <a:pt x="496" y="277"/>
                  <a:pt x="490" y="283"/>
                  <a:pt x="482" y="289"/>
                </a:cubicBezTo>
                <a:cubicBezTo>
                  <a:pt x="484" y="289"/>
                  <a:pt x="484" y="289"/>
                  <a:pt x="484" y="289"/>
                </a:cubicBezTo>
                <a:cubicBezTo>
                  <a:pt x="499" y="442"/>
                  <a:pt x="499" y="442"/>
                  <a:pt x="499" y="442"/>
                </a:cubicBezTo>
                <a:cubicBezTo>
                  <a:pt x="384" y="442"/>
                  <a:pt x="384" y="442"/>
                  <a:pt x="384" y="442"/>
                </a:cubicBezTo>
                <a:cubicBezTo>
                  <a:pt x="401" y="292"/>
                  <a:pt x="401" y="292"/>
                  <a:pt x="401" y="292"/>
                </a:cubicBezTo>
                <a:cubicBezTo>
                  <a:pt x="394" y="288"/>
                  <a:pt x="388" y="282"/>
                  <a:pt x="383" y="275"/>
                </a:cubicBezTo>
                <a:cubicBezTo>
                  <a:pt x="361" y="463"/>
                  <a:pt x="361" y="463"/>
                  <a:pt x="361" y="463"/>
                </a:cubicBezTo>
                <a:cubicBezTo>
                  <a:pt x="521" y="463"/>
                  <a:pt x="521" y="463"/>
                  <a:pt x="521" y="463"/>
                </a:cubicBezTo>
                <a:lnTo>
                  <a:pt x="503" y="269"/>
                </a:lnTo>
                <a:close/>
                <a:moveTo>
                  <a:pt x="441" y="289"/>
                </a:moveTo>
                <a:cubicBezTo>
                  <a:pt x="441" y="289"/>
                  <a:pt x="441" y="289"/>
                  <a:pt x="441" y="289"/>
                </a:cubicBezTo>
                <a:cubicBezTo>
                  <a:pt x="458" y="289"/>
                  <a:pt x="474" y="281"/>
                  <a:pt x="485" y="269"/>
                </a:cubicBezTo>
                <a:cubicBezTo>
                  <a:pt x="493" y="259"/>
                  <a:pt x="499" y="245"/>
                  <a:pt x="499" y="231"/>
                </a:cubicBezTo>
                <a:cubicBezTo>
                  <a:pt x="499" y="199"/>
                  <a:pt x="473" y="173"/>
                  <a:pt x="441" y="173"/>
                </a:cubicBezTo>
                <a:cubicBezTo>
                  <a:pt x="435" y="173"/>
                  <a:pt x="430" y="173"/>
                  <a:pt x="426" y="175"/>
                </a:cubicBezTo>
                <a:cubicBezTo>
                  <a:pt x="405" y="180"/>
                  <a:pt x="389" y="196"/>
                  <a:pt x="384" y="216"/>
                </a:cubicBezTo>
                <a:cubicBezTo>
                  <a:pt x="383" y="221"/>
                  <a:pt x="382" y="226"/>
                  <a:pt x="382" y="231"/>
                </a:cubicBezTo>
                <a:cubicBezTo>
                  <a:pt x="382" y="245"/>
                  <a:pt x="388" y="259"/>
                  <a:pt x="397" y="269"/>
                </a:cubicBezTo>
                <a:cubicBezTo>
                  <a:pt x="407" y="281"/>
                  <a:pt x="423" y="289"/>
                  <a:pt x="441" y="289"/>
                </a:cubicBezTo>
                <a:close/>
                <a:moveTo>
                  <a:pt x="441" y="197"/>
                </a:moveTo>
                <a:cubicBezTo>
                  <a:pt x="459" y="197"/>
                  <a:pt x="475" y="212"/>
                  <a:pt x="475" y="231"/>
                </a:cubicBezTo>
                <a:cubicBezTo>
                  <a:pt x="475" y="250"/>
                  <a:pt x="459" y="265"/>
                  <a:pt x="441" y="265"/>
                </a:cubicBezTo>
                <a:cubicBezTo>
                  <a:pt x="422" y="265"/>
                  <a:pt x="407" y="250"/>
                  <a:pt x="407" y="231"/>
                </a:cubicBezTo>
                <a:cubicBezTo>
                  <a:pt x="407" y="212"/>
                  <a:pt x="422" y="197"/>
                  <a:pt x="441" y="197"/>
                </a:cubicBezTo>
                <a:close/>
                <a:moveTo>
                  <a:pt x="266" y="158"/>
                </a:moveTo>
                <a:cubicBezTo>
                  <a:pt x="235" y="175"/>
                  <a:pt x="235" y="175"/>
                  <a:pt x="235" y="175"/>
                </a:cubicBezTo>
                <a:cubicBezTo>
                  <a:pt x="235" y="182"/>
                  <a:pt x="235" y="182"/>
                  <a:pt x="235" y="182"/>
                </a:cubicBezTo>
                <a:cubicBezTo>
                  <a:pt x="224" y="190"/>
                  <a:pt x="224" y="190"/>
                  <a:pt x="224" y="190"/>
                </a:cubicBezTo>
                <a:cubicBezTo>
                  <a:pt x="233" y="205"/>
                  <a:pt x="233" y="205"/>
                  <a:pt x="233" y="205"/>
                </a:cubicBezTo>
                <a:cubicBezTo>
                  <a:pt x="246" y="198"/>
                  <a:pt x="246" y="198"/>
                  <a:pt x="246" y="198"/>
                </a:cubicBezTo>
                <a:cubicBezTo>
                  <a:pt x="253" y="201"/>
                  <a:pt x="253" y="201"/>
                  <a:pt x="253" y="201"/>
                </a:cubicBezTo>
                <a:cubicBezTo>
                  <a:pt x="282" y="184"/>
                  <a:pt x="282" y="184"/>
                  <a:pt x="282" y="184"/>
                </a:cubicBezTo>
                <a:cubicBezTo>
                  <a:pt x="281" y="184"/>
                  <a:pt x="280" y="183"/>
                  <a:pt x="278" y="182"/>
                </a:cubicBezTo>
                <a:cubicBezTo>
                  <a:pt x="268" y="174"/>
                  <a:pt x="267" y="167"/>
                  <a:pt x="266" y="158"/>
                </a:cubicBezTo>
                <a:close/>
                <a:moveTo>
                  <a:pt x="196" y="213"/>
                </a:moveTo>
                <a:cubicBezTo>
                  <a:pt x="201" y="221"/>
                  <a:pt x="201" y="221"/>
                  <a:pt x="201" y="221"/>
                </a:cubicBezTo>
                <a:cubicBezTo>
                  <a:pt x="225" y="206"/>
                  <a:pt x="225" y="206"/>
                  <a:pt x="225" y="206"/>
                </a:cubicBezTo>
                <a:cubicBezTo>
                  <a:pt x="220" y="197"/>
                  <a:pt x="220" y="197"/>
                  <a:pt x="220" y="197"/>
                </a:cubicBezTo>
                <a:cubicBezTo>
                  <a:pt x="196" y="213"/>
                  <a:pt x="196" y="213"/>
                  <a:pt x="196" y="213"/>
                </a:cubicBezTo>
                <a:close/>
                <a:moveTo>
                  <a:pt x="248" y="298"/>
                </a:moveTo>
                <a:cubicBezTo>
                  <a:pt x="237" y="297"/>
                  <a:pt x="237" y="297"/>
                  <a:pt x="237" y="297"/>
                </a:cubicBezTo>
                <a:cubicBezTo>
                  <a:pt x="181" y="293"/>
                  <a:pt x="149" y="295"/>
                  <a:pt x="134" y="297"/>
                </a:cubicBezTo>
                <a:cubicBezTo>
                  <a:pt x="120" y="298"/>
                  <a:pt x="120" y="298"/>
                  <a:pt x="120" y="298"/>
                </a:cubicBezTo>
                <a:cubicBezTo>
                  <a:pt x="110" y="339"/>
                  <a:pt x="110" y="339"/>
                  <a:pt x="110" y="339"/>
                </a:cubicBezTo>
                <a:cubicBezTo>
                  <a:pt x="136" y="339"/>
                  <a:pt x="136" y="339"/>
                  <a:pt x="136" y="339"/>
                </a:cubicBezTo>
                <a:cubicBezTo>
                  <a:pt x="136" y="339"/>
                  <a:pt x="136" y="339"/>
                  <a:pt x="136" y="339"/>
                </a:cubicBezTo>
                <a:cubicBezTo>
                  <a:pt x="137" y="339"/>
                  <a:pt x="138" y="339"/>
                  <a:pt x="140" y="339"/>
                </a:cubicBezTo>
                <a:cubicBezTo>
                  <a:pt x="146" y="338"/>
                  <a:pt x="165" y="335"/>
                  <a:pt x="239" y="339"/>
                </a:cubicBezTo>
                <a:cubicBezTo>
                  <a:pt x="257" y="340"/>
                  <a:pt x="257" y="340"/>
                  <a:pt x="257" y="340"/>
                </a:cubicBezTo>
                <a:lnTo>
                  <a:pt x="248" y="298"/>
                </a:lnTo>
                <a:close/>
                <a:moveTo>
                  <a:pt x="256" y="355"/>
                </a:moveTo>
                <a:cubicBezTo>
                  <a:pt x="247" y="355"/>
                  <a:pt x="240" y="362"/>
                  <a:pt x="240" y="371"/>
                </a:cubicBezTo>
                <a:cubicBezTo>
                  <a:pt x="240" y="379"/>
                  <a:pt x="247" y="386"/>
                  <a:pt x="256" y="386"/>
                </a:cubicBezTo>
                <a:cubicBezTo>
                  <a:pt x="265" y="386"/>
                  <a:pt x="273" y="379"/>
                  <a:pt x="273" y="371"/>
                </a:cubicBezTo>
                <a:cubicBezTo>
                  <a:pt x="273" y="362"/>
                  <a:pt x="265" y="355"/>
                  <a:pt x="256" y="355"/>
                </a:cubicBezTo>
                <a:close/>
                <a:moveTo>
                  <a:pt x="116" y="355"/>
                </a:moveTo>
                <a:cubicBezTo>
                  <a:pt x="107" y="355"/>
                  <a:pt x="100" y="362"/>
                  <a:pt x="100" y="371"/>
                </a:cubicBezTo>
                <a:cubicBezTo>
                  <a:pt x="100" y="379"/>
                  <a:pt x="107" y="386"/>
                  <a:pt x="116" y="386"/>
                </a:cubicBezTo>
                <a:cubicBezTo>
                  <a:pt x="125" y="386"/>
                  <a:pt x="132" y="379"/>
                  <a:pt x="132" y="371"/>
                </a:cubicBezTo>
                <a:cubicBezTo>
                  <a:pt x="132" y="362"/>
                  <a:pt x="125" y="355"/>
                  <a:pt x="116" y="35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4" name="Google Shape;1934;p95">
            <a:extLst>
              <a:ext uri="{FF2B5EF4-FFF2-40B4-BE49-F238E27FC236}">
                <a16:creationId xmlns:a16="http://schemas.microsoft.com/office/drawing/2014/main" id="{D195DAAE-C61B-AFF4-FC63-C10E66BA78A7}"/>
              </a:ext>
            </a:extLst>
          </p:cNvPr>
          <p:cNvSpPr/>
          <p:nvPr/>
        </p:nvSpPr>
        <p:spPr>
          <a:xfrm>
            <a:off x="3020751" y="1859515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453744" h="453590" extrusionOk="0">
                <a:moveTo>
                  <a:pt x="0" y="0"/>
                </a:moveTo>
                <a:lnTo>
                  <a:pt x="0" y="453590"/>
                </a:lnTo>
                <a:lnTo>
                  <a:pt x="453744" y="453590"/>
                </a:lnTo>
                <a:lnTo>
                  <a:pt x="453744" y="0"/>
                </a:lnTo>
                <a:close/>
                <a:moveTo>
                  <a:pt x="434397" y="434218"/>
                </a:moveTo>
                <a:lnTo>
                  <a:pt x="19347" y="434218"/>
                </a:lnTo>
                <a:lnTo>
                  <a:pt x="19347" y="19341"/>
                </a:lnTo>
                <a:lnTo>
                  <a:pt x="434397" y="19341"/>
                </a:lnTo>
                <a:close/>
                <a:moveTo>
                  <a:pt x="88102" y="239174"/>
                </a:moveTo>
                <a:lnTo>
                  <a:pt x="147971" y="239174"/>
                </a:lnTo>
                <a:lnTo>
                  <a:pt x="147971" y="179326"/>
                </a:lnTo>
                <a:lnTo>
                  <a:pt x="88102" y="179326"/>
                </a:lnTo>
                <a:close/>
                <a:moveTo>
                  <a:pt x="107260" y="198225"/>
                </a:moveTo>
                <a:lnTo>
                  <a:pt x="129002" y="198225"/>
                </a:lnTo>
                <a:lnTo>
                  <a:pt x="129002" y="219960"/>
                </a:lnTo>
                <a:lnTo>
                  <a:pt x="107260" y="219960"/>
                </a:lnTo>
                <a:close/>
                <a:moveTo>
                  <a:pt x="292539" y="119288"/>
                </a:moveTo>
                <a:cubicBezTo>
                  <a:pt x="288411" y="116925"/>
                  <a:pt x="277414" y="112673"/>
                  <a:pt x="277414" y="112673"/>
                </a:cubicBezTo>
                <a:lnTo>
                  <a:pt x="283306" y="94341"/>
                </a:lnTo>
                <a:cubicBezTo>
                  <a:pt x="283306" y="94341"/>
                  <a:pt x="297076" y="99569"/>
                  <a:pt x="302212" y="102467"/>
                </a:cubicBezTo>
                <a:cubicBezTo>
                  <a:pt x="348573" y="129037"/>
                  <a:pt x="377361" y="178195"/>
                  <a:pt x="377836" y="231615"/>
                </a:cubicBezTo>
                <a:lnTo>
                  <a:pt x="394096" y="215235"/>
                </a:lnTo>
                <a:lnTo>
                  <a:pt x="407834" y="228906"/>
                </a:lnTo>
                <a:lnTo>
                  <a:pt x="369549" y="267555"/>
                </a:lnTo>
                <a:lnTo>
                  <a:pt x="330981" y="229283"/>
                </a:lnTo>
                <a:lnTo>
                  <a:pt x="344625" y="215550"/>
                </a:lnTo>
                <a:lnTo>
                  <a:pt x="358426" y="229221"/>
                </a:lnTo>
                <a:cubicBezTo>
                  <a:pt x="357081" y="183632"/>
                  <a:pt x="332128" y="142021"/>
                  <a:pt x="292539" y="119351"/>
                </a:cubicBezTo>
                <a:close/>
                <a:moveTo>
                  <a:pt x="176582" y="238985"/>
                </a:moveTo>
                <a:lnTo>
                  <a:pt x="236609" y="238985"/>
                </a:lnTo>
                <a:lnTo>
                  <a:pt x="236609" y="179137"/>
                </a:lnTo>
                <a:lnTo>
                  <a:pt x="176582" y="179137"/>
                </a:lnTo>
                <a:close/>
                <a:moveTo>
                  <a:pt x="195740" y="198036"/>
                </a:moveTo>
                <a:lnTo>
                  <a:pt x="217451" y="198036"/>
                </a:lnTo>
                <a:lnTo>
                  <a:pt x="217451" y="219771"/>
                </a:lnTo>
                <a:lnTo>
                  <a:pt x="195740" y="219771"/>
                </a:lnTo>
                <a:close/>
                <a:moveTo>
                  <a:pt x="241776" y="361360"/>
                </a:moveTo>
                <a:lnTo>
                  <a:pt x="247385" y="379787"/>
                </a:lnTo>
                <a:cubicBezTo>
                  <a:pt x="247385" y="379787"/>
                  <a:pt x="221137" y="386843"/>
                  <a:pt x="210833" y="387284"/>
                </a:cubicBezTo>
                <a:cubicBezTo>
                  <a:pt x="208533" y="387284"/>
                  <a:pt x="206265" y="387284"/>
                  <a:pt x="203996" y="387284"/>
                </a:cubicBezTo>
                <a:cubicBezTo>
                  <a:pt x="152972" y="387209"/>
                  <a:pt x="105458" y="361300"/>
                  <a:pt x="77767" y="318458"/>
                </a:cubicBezTo>
                <a:lnTo>
                  <a:pt x="72820" y="340980"/>
                </a:lnTo>
                <a:lnTo>
                  <a:pt x="53914" y="336822"/>
                </a:lnTo>
                <a:lnTo>
                  <a:pt x="65604" y="283777"/>
                </a:lnTo>
                <a:lnTo>
                  <a:pt x="118541" y="295873"/>
                </a:lnTo>
                <a:lnTo>
                  <a:pt x="114381" y="314773"/>
                </a:lnTo>
                <a:lnTo>
                  <a:pt x="95475" y="310615"/>
                </a:lnTo>
                <a:cubicBezTo>
                  <a:pt x="119823" y="346650"/>
                  <a:pt x="160465" y="368268"/>
                  <a:pt x="203964" y="368322"/>
                </a:cubicBezTo>
                <a:cubicBezTo>
                  <a:pt x="205949" y="368322"/>
                  <a:pt x="207935" y="368322"/>
                  <a:pt x="209920" y="368322"/>
                </a:cubicBezTo>
                <a:cubicBezTo>
                  <a:pt x="218931" y="367786"/>
                  <a:pt x="241776" y="361612"/>
                  <a:pt x="241776" y="361612"/>
                </a:cubicBezTo>
                <a:close/>
                <a:moveTo>
                  <a:pt x="405282" y="384701"/>
                </a:moveTo>
                <a:lnTo>
                  <a:pt x="404620" y="311497"/>
                </a:lnTo>
                <a:lnTo>
                  <a:pt x="337819" y="281289"/>
                </a:lnTo>
                <a:lnTo>
                  <a:pt x="282865" y="308756"/>
                </a:lnTo>
                <a:cubicBezTo>
                  <a:pt x="281536" y="309112"/>
                  <a:pt x="280294" y="309736"/>
                  <a:pt x="279210" y="310583"/>
                </a:cubicBezTo>
                <a:lnTo>
                  <a:pt x="273349" y="313513"/>
                </a:lnTo>
                <a:lnTo>
                  <a:pt x="273349" y="383221"/>
                </a:lnTo>
                <a:lnTo>
                  <a:pt x="337819" y="414720"/>
                </a:lnTo>
                <a:lnTo>
                  <a:pt x="343270" y="412295"/>
                </a:lnTo>
                <a:cubicBezTo>
                  <a:pt x="343828" y="412106"/>
                  <a:pt x="344367" y="411863"/>
                  <a:pt x="344877" y="411570"/>
                </a:cubicBezTo>
                <a:close/>
                <a:moveTo>
                  <a:pt x="349604" y="388828"/>
                </a:moveTo>
                <a:lnTo>
                  <a:pt x="349604" y="345359"/>
                </a:lnTo>
                <a:lnTo>
                  <a:pt x="385745" y="328538"/>
                </a:lnTo>
                <a:lnTo>
                  <a:pt x="386124" y="372637"/>
                </a:lnTo>
                <a:close/>
                <a:moveTo>
                  <a:pt x="338102" y="302362"/>
                </a:moveTo>
                <a:lnTo>
                  <a:pt x="368100" y="315907"/>
                </a:lnTo>
                <a:lnTo>
                  <a:pt x="338701" y="329577"/>
                </a:lnTo>
                <a:lnTo>
                  <a:pt x="308294" y="317261"/>
                </a:lnTo>
                <a:close/>
                <a:moveTo>
                  <a:pt x="292129" y="331121"/>
                </a:moveTo>
                <a:lnTo>
                  <a:pt x="330698" y="346870"/>
                </a:lnTo>
                <a:lnTo>
                  <a:pt x="330698" y="390529"/>
                </a:lnTo>
                <a:lnTo>
                  <a:pt x="292129" y="371629"/>
                </a:lnTo>
                <a:close/>
                <a:moveTo>
                  <a:pt x="276878" y="147984"/>
                </a:moveTo>
                <a:lnTo>
                  <a:pt x="242217" y="147984"/>
                </a:lnTo>
                <a:lnTo>
                  <a:pt x="242217" y="102782"/>
                </a:lnTo>
                <a:lnTo>
                  <a:pt x="257531" y="102782"/>
                </a:lnTo>
                <a:lnTo>
                  <a:pt x="257531" y="38870"/>
                </a:lnTo>
                <a:lnTo>
                  <a:pt x="170879" y="38870"/>
                </a:lnTo>
                <a:lnTo>
                  <a:pt x="170879" y="102782"/>
                </a:lnTo>
                <a:lnTo>
                  <a:pt x="185216" y="102782"/>
                </a:lnTo>
                <a:lnTo>
                  <a:pt x="185216" y="147858"/>
                </a:lnTo>
                <a:lnTo>
                  <a:pt x="149736" y="147858"/>
                </a:lnTo>
                <a:lnTo>
                  <a:pt x="149736" y="87474"/>
                </a:lnTo>
                <a:lnTo>
                  <a:pt x="46068" y="87474"/>
                </a:lnTo>
                <a:lnTo>
                  <a:pt x="46320" y="271272"/>
                </a:lnTo>
                <a:lnTo>
                  <a:pt x="277036" y="271272"/>
                </a:lnTo>
                <a:close/>
                <a:moveTo>
                  <a:pt x="190037" y="58085"/>
                </a:moveTo>
                <a:lnTo>
                  <a:pt x="239823" y="58085"/>
                </a:lnTo>
                <a:lnTo>
                  <a:pt x="239823" y="83694"/>
                </a:lnTo>
                <a:lnTo>
                  <a:pt x="190037" y="83694"/>
                </a:lnTo>
                <a:close/>
                <a:moveTo>
                  <a:pt x="257720" y="252184"/>
                </a:moveTo>
                <a:lnTo>
                  <a:pt x="65289" y="252184"/>
                </a:lnTo>
                <a:lnTo>
                  <a:pt x="65131" y="109649"/>
                </a:lnTo>
                <a:lnTo>
                  <a:pt x="130199" y="109649"/>
                </a:lnTo>
                <a:lnTo>
                  <a:pt x="130199" y="166978"/>
                </a:lnTo>
                <a:lnTo>
                  <a:pt x="203807" y="166978"/>
                </a:lnTo>
                <a:lnTo>
                  <a:pt x="204374" y="102908"/>
                </a:lnTo>
                <a:lnTo>
                  <a:pt x="223059" y="102908"/>
                </a:lnTo>
                <a:lnTo>
                  <a:pt x="223059" y="167135"/>
                </a:lnTo>
                <a:lnTo>
                  <a:pt x="257720" y="16713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5" name="Google Shape;941;p84">
            <a:extLst>
              <a:ext uri="{FF2B5EF4-FFF2-40B4-BE49-F238E27FC236}">
                <a16:creationId xmlns:a16="http://schemas.microsoft.com/office/drawing/2014/main" id="{07EE18A1-3845-5CE1-3FEB-03DF5E9D5372}"/>
              </a:ext>
            </a:extLst>
          </p:cNvPr>
          <p:cNvSpPr/>
          <p:nvPr/>
        </p:nvSpPr>
        <p:spPr>
          <a:xfrm>
            <a:off x="3006428" y="4986142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155" h="155" extrusionOk="0">
                <a:moveTo>
                  <a:pt x="119" y="16"/>
                </a:moveTo>
                <a:lnTo>
                  <a:pt x="119" y="0"/>
                </a:lnTo>
                <a:lnTo>
                  <a:pt x="36" y="0"/>
                </a:lnTo>
                <a:lnTo>
                  <a:pt x="36" y="16"/>
                </a:lnTo>
                <a:lnTo>
                  <a:pt x="0" y="16"/>
                </a:lnTo>
                <a:lnTo>
                  <a:pt x="0" y="155"/>
                </a:lnTo>
                <a:lnTo>
                  <a:pt x="155" y="155"/>
                </a:lnTo>
                <a:lnTo>
                  <a:pt x="155" y="16"/>
                </a:lnTo>
                <a:lnTo>
                  <a:pt x="119" y="16"/>
                </a:lnTo>
                <a:close/>
                <a:moveTo>
                  <a:pt x="42" y="7"/>
                </a:moveTo>
                <a:lnTo>
                  <a:pt x="113" y="7"/>
                </a:lnTo>
                <a:lnTo>
                  <a:pt x="113" y="16"/>
                </a:lnTo>
                <a:lnTo>
                  <a:pt x="42" y="16"/>
                </a:lnTo>
                <a:lnTo>
                  <a:pt x="42" y="7"/>
                </a:lnTo>
                <a:close/>
                <a:moveTo>
                  <a:pt x="148" y="22"/>
                </a:moveTo>
                <a:lnTo>
                  <a:pt x="148" y="82"/>
                </a:lnTo>
                <a:lnTo>
                  <a:pt x="7" y="82"/>
                </a:lnTo>
                <a:lnTo>
                  <a:pt x="7" y="22"/>
                </a:lnTo>
                <a:lnTo>
                  <a:pt x="148" y="22"/>
                </a:lnTo>
                <a:close/>
                <a:moveTo>
                  <a:pt x="7" y="148"/>
                </a:moveTo>
                <a:lnTo>
                  <a:pt x="7" y="89"/>
                </a:lnTo>
                <a:lnTo>
                  <a:pt x="148" y="89"/>
                </a:lnTo>
                <a:lnTo>
                  <a:pt x="148" y="148"/>
                </a:lnTo>
                <a:lnTo>
                  <a:pt x="7" y="148"/>
                </a:lnTo>
                <a:close/>
                <a:moveTo>
                  <a:pt x="74" y="56"/>
                </a:moveTo>
                <a:lnTo>
                  <a:pt x="61" y="56"/>
                </a:lnTo>
                <a:lnTo>
                  <a:pt x="61" y="49"/>
                </a:lnTo>
                <a:lnTo>
                  <a:pt x="74" y="49"/>
                </a:lnTo>
                <a:lnTo>
                  <a:pt x="74" y="35"/>
                </a:lnTo>
                <a:lnTo>
                  <a:pt x="81" y="35"/>
                </a:lnTo>
                <a:lnTo>
                  <a:pt x="81" y="49"/>
                </a:lnTo>
                <a:lnTo>
                  <a:pt x="94" y="49"/>
                </a:lnTo>
                <a:lnTo>
                  <a:pt x="94" y="56"/>
                </a:lnTo>
                <a:lnTo>
                  <a:pt x="81" y="56"/>
                </a:lnTo>
                <a:lnTo>
                  <a:pt x="81" y="69"/>
                </a:lnTo>
                <a:lnTo>
                  <a:pt x="74" y="69"/>
                </a:lnTo>
                <a:lnTo>
                  <a:pt x="74" y="56"/>
                </a:lnTo>
                <a:close/>
                <a:moveTo>
                  <a:pt x="61" y="115"/>
                </a:moveTo>
                <a:lnTo>
                  <a:pt x="94" y="115"/>
                </a:lnTo>
                <a:lnTo>
                  <a:pt x="94" y="122"/>
                </a:lnTo>
                <a:lnTo>
                  <a:pt x="61" y="122"/>
                </a:lnTo>
                <a:lnTo>
                  <a:pt x="61" y="1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700">
              <a:solidFill>
                <a:schemeClr val="dk2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Google Shape;1316;p88">
            <a:extLst>
              <a:ext uri="{FF2B5EF4-FFF2-40B4-BE49-F238E27FC236}">
                <a16:creationId xmlns:a16="http://schemas.microsoft.com/office/drawing/2014/main" id="{884C72B2-DE2C-74FB-A0F2-E7F5EA09D00F}"/>
              </a:ext>
            </a:extLst>
          </p:cNvPr>
          <p:cNvSpPr/>
          <p:nvPr/>
        </p:nvSpPr>
        <p:spPr>
          <a:xfrm>
            <a:off x="5125284" y="3468850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453744" h="453590" extrusionOk="0">
                <a:moveTo>
                  <a:pt x="120085" y="94309"/>
                </a:moveTo>
                <a:lnTo>
                  <a:pt x="105937" y="81331"/>
                </a:lnTo>
                <a:lnTo>
                  <a:pt x="419367" y="81331"/>
                </a:lnTo>
                <a:lnTo>
                  <a:pt x="419367" y="62432"/>
                </a:lnTo>
                <a:lnTo>
                  <a:pt x="84510" y="62432"/>
                </a:lnTo>
                <a:lnTo>
                  <a:pt x="70520" y="50777"/>
                </a:lnTo>
                <a:lnTo>
                  <a:pt x="387636" y="50777"/>
                </a:lnTo>
                <a:lnTo>
                  <a:pt x="387636" y="31877"/>
                </a:lnTo>
                <a:lnTo>
                  <a:pt x="48652" y="31877"/>
                </a:lnTo>
                <a:lnTo>
                  <a:pt x="33338" y="18900"/>
                </a:lnTo>
                <a:lnTo>
                  <a:pt x="351936" y="18900"/>
                </a:lnTo>
                <a:lnTo>
                  <a:pt x="351936" y="0"/>
                </a:lnTo>
                <a:lnTo>
                  <a:pt x="0" y="0"/>
                </a:lnTo>
                <a:lnTo>
                  <a:pt x="0" y="352792"/>
                </a:lnTo>
                <a:lnTo>
                  <a:pt x="107576" y="453590"/>
                </a:lnTo>
                <a:lnTo>
                  <a:pt x="453744" y="453590"/>
                </a:lnTo>
                <a:lnTo>
                  <a:pt x="453744" y="94309"/>
                </a:lnTo>
                <a:close/>
                <a:moveTo>
                  <a:pt x="125852" y="435289"/>
                </a:moveTo>
                <a:lnTo>
                  <a:pt x="125852" y="113051"/>
                </a:lnTo>
                <a:lnTo>
                  <a:pt x="434964" y="113051"/>
                </a:lnTo>
                <a:lnTo>
                  <a:pt x="434964" y="435289"/>
                </a:lnTo>
                <a:close/>
                <a:moveTo>
                  <a:pt x="107102" y="108641"/>
                </a:moveTo>
                <a:lnTo>
                  <a:pt x="107102" y="427666"/>
                </a:lnTo>
                <a:lnTo>
                  <a:pt x="18874" y="345768"/>
                </a:lnTo>
                <a:lnTo>
                  <a:pt x="18874" y="29420"/>
                </a:lnTo>
                <a:close/>
                <a:moveTo>
                  <a:pt x="225045" y="290172"/>
                </a:moveTo>
                <a:cubicBezTo>
                  <a:pt x="209195" y="293675"/>
                  <a:pt x="199206" y="309345"/>
                  <a:pt x="202704" y="325177"/>
                </a:cubicBezTo>
                <a:cubicBezTo>
                  <a:pt x="205697" y="338608"/>
                  <a:pt x="217577" y="348175"/>
                  <a:pt x="231347" y="348194"/>
                </a:cubicBezTo>
                <a:cubicBezTo>
                  <a:pt x="233458" y="348197"/>
                  <a:pt x="235569" y="347964"/>
                  <a:pt x="237649" y="347501"/>
                </a:cubicBezTo>
                <a:cubicBezTo>
                  <a:pt x="253561" y="344411"/>
                  <a:pt x="263959" y="329001"/>
                  <a:pt x="260871" y="313088"/>
                </a:cubicBezTo>
                <a:cubicBezTo>
                  <a:pt x="257784" y="297171"/>
                  <a:pt x="242376" y="286773"/>
                  <a:pt x="226463" y="289863"/>
                </a:cubicBezTo>
                <a:cubicBezTo>
                  <a:pt x="225990" y="289954"/>
                  <a:pt x="225517" y="290058"/>
                  <a:pt x="225045" y="290172"/>
                </a:cubicBezTo>
                <a:close/>
                <a:moveTo>
                  <a:pt x="243604" y="326711"/>
                </a:moveTo>
                <a:cubicBezTo>
                  <a:pt x="239256" y="333449"/>
                  <a:pt x="230275" y="335383"/>
                  <a:pt x="223533" y="331033"/>
                </a:cubicBezTo>
                <a:cubicBezTo>
                  <a:pt x="216789" y="326680"/>
                  <a:pt x="214836" y="317693"/>
                  <a:pt x="219184" y="310955"/>
                </a:cubicBezTo>
                <a:cubicBezTo>
                  <a:pt x="223563" y="304217"/>
                  <a:pt x="232544" y="302283"/>
                  <a:pt x="239288" y="306633"/>
                </a:cubicBezTo>
                <a:cubicBezTo>
                  <a:pt x="242501" y="308712"/>
                  <a:pt x="244770" y="311976"/>
                  <a:pt x="245590" y="315718"/>
                </a:cubicBezTo>
                <a:cubicBezTo>
                  <a:pt x="246408" y="319501"/>
                  <a:pt x="245715" y="323457"/>
                  <a:pt x="243604" y="326711"/>
                </a:cubicBezTo>
                <a:close/>
                <a:moveTo>
                  <a:pt x="323986" y="322522"/>
                </a:moveTo>
                <a:lnTo>
                  <a:pt x="313903" y="276564"/>
                </a:lnTo>
                <a:lnTo>
                  <a:pt x="290743" y="276060"/>
                </a:lnTo>
                <a:cubicBezTo>
                  <a:pt x="287434" y="271496"/>
                  <a:pt x="283622" y="267332"/>
                  <a:pt x="279337" y="263649"/>
                </a:cubicBezTo>
                <a:lnTo>
                  <a:pt x="280818" y="240403"/>
                </a:lnTo>
                <a:lnTo>
                  <a:pt x="236167" y="226260"/>
                </a:lnTo>
                <a:lnTo>
                  <a:pt x="223879" y="246041"/>
                </a:lnTo>
                <a:cubicBezTo>
                  <a:pt x="221075" y="246303"/>
                  <a:pt x="218301" y="246725"/>
                  <a:pt x="215560" y="247301"/>
                </a:cubicBezTo>
                <a:cubicBezTo>
                  <a:pt x="212819" y="247915"/>
                  <a:pt x="210141" y="248694"/>
                  <a:pt x="207494" y="249632"/>
                </a:cubicBezTo>
                <a:lnTo>
                  <a:pt x="187989" y="236843"/>
                </a:lnTo>
                <a:lnTo>
                  <a:pt x="153328" y="268343"/>
                </a:lnTo>
                <a:lnTo>
                  <a:pt x="164388" y="288817"/>
                </a:lnTo>
                <a:cubicBezTo>
                  <a:pt x="162057" y="293946"/>
                  <a:pt x="160323" y="299325"/>
                  <a:pt x="159220" y="304851"/>
                </a:cubicBezTo>
                <a:lnTo>
                  <a:pt x="138392" y="314930"/>
                </a:lnTo>
                <a:lnTo>
                  <a:pt x="148507" y="360951"/>
                </a:lnTo>
                <a:lnTo>
                  <a:pt x="171698" y="361612"/>
                </a:lnTo>
                <a:cubicBezTo>
                  <a:pt x="175007" y="366167"/>
                  <a:pt x="178819" y="370322"/>
                  <a:pt x="183073" y="373992"/>
                </a:cubicBezTo>
                <a:lnTo>
                  <a:pt x="181624" y="397270"/>
                </a:lnTo>
                <a:lnTo>
                  <a:pt x="226337" y="411444"/>
                </a:lnTo>
                <a:lnTo>
                  <a:pt x="238531" y="391631"/>
                </a:lnTo>
                <a:cubicBezTo>
                  <a:pt x="244139" y="391152"/>
                  <a:pt x="249654" y="389943"/>
                  <a:pt x="254948" y="388040"/>
                </a:cubicBezTo>
                <a:lnTo>
                  <a:pt x="274358" y="400892"/>
                </a:lnTo>
                <a:lnTo>
                  <a:pt x="309208" y="369109"/>
                </a:lnTo>
                <a:lnTo>
                  <a:pt x="297927" y="348792"/>
                </a:lnTo>
                <a:cubicBezTo>
                  <a:pt x="300259" y="343680"/>
                  <a:pt x="301992" y="338309"/>
                  <a:pt x="303064" y="332790"/>
                </a:cubicBezTo>
                <a:close/>
                <a:moveTo>
                  <a:pt x="289987" y="322900"/>
                </a:moveTo>
                <a:lnTo>
                  <a:pt x="288853" y="329199"/>
                </a:lnTo>
                <a:cubicBezTo>
                  <a:pt x="287907" y="334107"/>
                  <a:pt x="286363" y="338879"/>
                  <a:pt x="284252" y="343406"/>
                </a:cubicBezTo>
                <a:lnTo>
                  <a:pt x="281542" y="349264"/>
                </a:lnTo>
                <a:lnTo>
                  <a:pt x="290617" y="366148"/>
                </a:lnTo>
                <a:lnTo>
                  <a:pt x="273035" y="382213"/>
                </a:lnTo>
                <a:lnTo>
                  <a:pt x="257059" y="371629"/>
                </a:lnTo>
                <a:lnTo>
                  <a:pt x="250978" y="373771"/>
                </a:lnTo>
                <a:cubicBezTo>
                  <a:pt x="248646" y="374643"/>
                  <a:pt x="246251" y="375358"/>
                  <a:pt x="243825" y="375913"/>
                </a:cubicBezTo>
                <a:cubicBezTo>
                  <a:pt x="241367" y="376426"/>
                  <a:pt x="238909" y="376785"/>
                  <a:pt x="236420" y="376984"/>
                </a:cubicBezTo>
                <a:lnTo>
                  <a:pt x="230118" y="377551"/>
                </a:lnTo>
                <a:lnTo>
                  <a:pt x="220035" y="393868"/>
                </a:lnTo>
                <a:lnTo>
                  <a:pt x="197348" y="386654"/>
                </a:lnTo>
                <a:lnTo>
                  <a:pt x="198545" y="367503"/>
                </a:lnTo>
                <a:lnTo>
                  <a:pt x="193598" y="363313"/>
                </a:lnTo>
                <a:cubicBezTo>
                  <a:pt x="189753" y="360100"/>
                  <a:pt x="186382" y="356405"/>
                  <a:pt x="183483" y="352320"/>
                </a:cubicBezTo>
                <a:lnTo>
                  <a:pt x="179765" y="347028"/>
                </a:lnTo>
                <a:lnTo>
                  <a:pt x="160701" y="346493"/>
                </a:lnTo>
                <a:lnTo>
                  <a:pt x="155597" y="323215"/>
                </a:lnTo>
                <a:lnTo>
                  <a:pt x="172675" y="314741"/>
                </a:lnTo>
                <a:lnTo>
                  <a:pt x="173841" y="308441"/>
                </a:lnTo>
                <a:cubicBezTo>
                  <a:pt x="174754" y="303531"/>
                  <a:pt x="176298" y="298758"/>
                  <a:pt x="178410" y="294235"/>
                </a:cubicBezTo>
                <a:lnTo>
                  <a:pt x="181151" y="288376"/>
                </a:lnTo>
                <a:lnTo>
                  <a:pt x="172045" y="271493"/>
                </a:lnTo>
                <a:lnTo>
                  <a:pt x="189659" y="255428"/>
                </a:lnTo>
                <a:lnTo>
                  <a:pt x="205603" y="266043"/>
                </a:lnTo>
                <a:lnTo>
                  <a:pt x="211685" y="263838"/>
                </a:lnTo>
                <a:cubicBezTo>
                  <a:pt x="214048" y="262985"/>
                  <a:pt x="216443" y="262279"/>
                  <a:pt x="218868" y="261728"/>
                </a:cubicBezTo>
                <a:cubicBezTo>
                  <a:pt x="221326" y="261208"/>
                  <a:pt x="223784" y="260852"/>
                  <a:pt x="226274" y="260657"/>
                </a:cubicBezTo>
                <a:lnTo>
                  <a:pt x="232576" y="260058"/>
                </a:lnTo>
                <a:lnTo>
                  <a:pt x="242627" y="243773"/>
                </a:lnTo>
                <a:lnTo>
                  <a:pt x="265346" y="250987"/>
                </a:lnTo>
                <a:lnTo>
                  <a:pt x="264149" y="270138"/>
                </a:lnTo>
                <a:lnTo>
                  <a:pt x="269064" y="274328"/>
                </a:lnTo>
                <a:cubicBezTo>
                  <a:pt x="272909" y="277531"/>
                  <a:pt x="276280" y="281217"/>
                  <a:pt x="279179" y="285289"/>
                </a:cubicBezTo>
                <a:lnTo>
                  <a:pt x="282897" y="290581"/>
                </a:lnTo>
                <a:lnTo>
                  <a:pt x="301992" y="291148"/>
                </a:lnTo>
                <a:lnTo>
                  <a:pt x="307096" y="314395"/>
                </a:lnTo>
                <a:close/>
                <a:moveTo>
                  <a:pt x="407582" y="200052"/>
                </a:moveTo>
                <a:cubicBezTo>
                  <a:pt x="407204" y="196685"/>
                  <a:pt x="406479" y="193371"/>
                  <a:pt x="405408" y="190162"/>
                </a:cubicBezTo>
                <a:lnTo>
                  <a:pt x="414861" y="175924"/>
                </a:lnTo>
                <a:lnTo>
                  <a:pt x="389968" y="148677"/>
                </a:lnTo>
                <a:lnTo>
                  <a:pt x="374906" y="156835"/>
                </a:lnTo>
                <a:cubicBezTo>
                  <a:pt x="371787" y="155487"/>
                  <a:pt x="368541" y="154432"/>
                  <a:pt x="365233" y="153685"/>
                </a:cubicBezTo>
                <a:lnTo>
                  <a:pt x="357891" y="138314"/>
                </a:lnTo>
                <a:lnTo>
                  <a:pt x="321654" y="146252"/>
                </a:lnTo>
                <a:lnTo>
                  <a:pt x="321182" y="163356"/>
                </a:lnTo>
                <a:cubicBezTo>
                  <a:pt x="318472" y="165390"/>
                  <a:pt x="315982" y="167690"/>
                  <a:pt x="313745" y="170222"/>
                </a:cubicBezTo>
                <a:lnTo>
                  <a:pt x="296604" y="169151"/>
                </a:lnTo>
                <a:lnTo>
                  <a:pt x="285355" y="204494"/>
                </a:lnTo>
                <a:lnTo>
                  <a:pt x="300070" y="213188"/>
                </a:lnTo>
                <a:cubicBezTo>
                  <a:pt x="300259" y="214873"/>
                  <a:pt x="300511" y="216542"/>
                  <a:pt x="300889" y="218196"/>
                </a:cubicBezTo>
                <a:cubicBezTo>
                  <a:pt x="301236" y="219739"/>
                  <a:pt x="301677" y="221346"/>
                  <a:pt x="302213" y="223078"/>
                </a:cubicBezTo>
                <a:lnTo>
                  <a:pt x="292760" y="237253"/>
                </a:lnTo>
                <a:lnTo>
                  <a:pt x="317621" y="264500"/>
                </a:lnTo>
                <a:lnTo>
                  <a:pt x="332746" y="256373"/>
                </a:lnTo>
                <a:cubicBezTo>
                  <a:pt x="335865" y="257721"/>
                  <a:pt x="339080" y="258773"/>
                  <a:pt x="342388" y="259523"/>
                </a:cubicBezTo>
                <a:lnTo>
                  <a:pt x="350077" y="274832"/>
                </a:lnTo>
                <a:lnTo>
                  <a:pt x="386061" y="266925"/>
                </a:lnTo>
                <a:lnTo>
                  <a:pt x="386439" y="249853"/>
                </a:lnTo>
                <a:cubicBezTo>
                  <a:pt x="389149" y="247808"/>
                  <a:pt x="391638" y="245509"/>
                  <a:pt x="393907" y="242986"/>
                </a:cubicBezTo>
                <a:lnTo>
                  <a:pt x="411017" y="244151"/>
                </a:lnTo>
                <a:lnTo>
                  <a:pt x="422171" y="208998"/>
                </a:lnTo>
                <a:close/>
                <a:moveTo>
                  <a:pt x="319070" y="225252"/>
                </a:moveTo>
                <a:lnTo>
                  <a:pt x="317149" y="219865"/>
                </a:lnTo>
                <a:cubicBezTo>
                  <a:pt x="316549" y="218306"/>
                  <a:pt x="316077" y="216706"/>
                  <a:pt x="315730" y="215077"/>
                </a:cubicBezTo>
                <a:cubicBezTo>
                  <a:pt x="315384" y="213449"/>
                  <a:pt x="315132" y="211795"/>
                  <a:pt x="315005" y="210132"/>
                </a:cubicBezTo>
                <a:lnTo>
                  <a:pt x="314470" y="204431"/>
                </a:lnTo>
                <a:lnTo>
                  <a:pt x="303505" y="197658"/>
                </a:lnTo>
                <a:lnTo>
                  <a:pt x="307506" y="185059"/>
                </a:lnTo>
                <a:lnTo>
                  <a:pt x="320426" y="185846"/>
                </a:lnTo>
                <a:lnTo>
                  <a:pt x="324112" y="181499"/>
                </a:lnTo>
                <a:cubicBezTo>
                  <a:pt x="326255" y="178945"/>
                  <a:pt x="328744" y="176667"/>
                  <a:pt x="331454" y="174727"/>
                </a:cubicBezTo>
                <a:lnTo>
                  <a:pt x="336149" y="171577"/>
                </a:lnTo>
                <a:lnTo>
                  <a:pt x="336527" y="158725"/>
                </a:lnTo>
                <a:lnTo>
                  <a:pt x="349446" y="155890"/>
                </a:lnTo>
                <a:lnTo>
                  <a:pt x="355181" y="167387"/>
                </a:lnTo>
                <a:lnTo>
                  <a:pt x="360821" y="168395"/>
                </a:lnTo>
                <a:cubicBezTo>
                  <a:pt x="364098" y="169038"/>
                  <a:pt x="367281" y="170100"/>
                  <a:pt x="370274" y="171545"/>
                </a:cubicBezTo>
                <a:lnTo>
                  <a:pt x="375474" y="173971"/>
                </a:lnTo>
                <a:lnTo>
                  <a:pt x="386848" y="167671"/>
                </a:lnTo>
                <a:lnTo>
                  <a:pt x="395766" y="177436"/>
                </a:lnTo>
                <a:lnTo>
                  <a:pt x="388645" y="188177"/>
                </a:lnTo>
                <a:lnTo>
                  <a:pt x="390566" y="193595"/>
                </a:lnTo>
                <a:cubicBezTo>
                  <a:pt x="391134" y="195148"/>
                  <a:pt x="391606" y="196735"/>
                  <a:pt x="391985" y="198351"/>
                </a:cubicBezTo>
                <a:cubicBezTo>
                  <a:pt x="392331" y="199995"/>
                  <a:pt x="392552" y="201656"/>
                  <a:pt x="392710" y="203328"/>
                </a:cubicBezTo>
                <a:lnTo>
                  <a:pt x="393214" y="209030"/>
                </a:lnTo>
                <a:lnTo>
                  <a:pt x="404179" y="215802"/>
                </a:lnTo>
                <a:lnTo>
                  <a:pt x="400177" y="228402"/>
                </a:lnTo>
                <a:lnTo>
                  <a:pt x="387290" y="227583"/>
                </a:lnTo>
                <a:lnTo>
                  <a:pt x="383571" y="231961"/>
                </a:lnTo>
                <a:cubicBezTo>
                  <a:pt x="381429" y="234525"/>
                  <a:pt x="378971" y="236799"/>
                  <a:pt x="376230" y="238733"/>
                </a:cubicBezTo>
                <a:lnTo>
                  <a:pt x="371535" y="241883"/>
                </a:lnTo>
                <a:lnTo>
                  <a:pt x="371188" y="254704"/>
                </a:lnTo>
                <a:lnTo>
                  <a:pt x="358238" y="257538"/>
                </a:lnTo>
                <a:lnTo>
                  <a:pt x="352534" y="246041"/>
                </a:lnTo>
                <a:lnTo>
                  <a:pt x="346894" y="245002"/>
                </a:lnTo>
                <a:cubicBezTo>
                  <a:pt x="343617" y="244359"/>
                  <a:pt x="340434" y="243301"/>
                  <a:pt x="337441" y="241852"/>
                </a:cubicBezTo>
                <a:lnTo>
                  <a:pt x="332242" y="239426"/>
                </a:lnTo>
                <a:lnTo>
                  <a:pt x="320835" y="245726"/>
                </a:lnTo>
                <a:lnTo>
                  <a:pt x="311949" y="235962"/>
                </a:lnTo>
                <a:close/>
                <a:moveTo>
                  <a:pt x="341443" y="226134"/>
                </a:moveTo>
                <a:cubicBezTo>
                  <a:pt x="345129" y="228524"/>
                  <a:pt x="349446" y="229794"/>
                  <a:pt x="353826" y="229788"/>
                </a:cubicBezTo>
                <a:cubicBezTo>
                  <a:pt x="355496" y="229797"/>
                  <a:pt x="357166" y="229618"/>
                  <a:pt x="358805" y="229252"/>
                </a:cubicBezTo>
                <a:cubicBezTo>
                  <a:pt x="371251" y="226521"/>
                  <a:pt x="379160" y="214211"/>
                  <a:pt x="376418" y="201753"/>
                </a:cubicBezTo>
                <a:cubicBezTo>
                  <a:pt x="376418" y="201753"/>
                  <a:pt x="376418" y="201753"/>
                  <a:pt x="376418" y="201753"/>
                </a:cubicBezTo>
                <a:lnTo>
                  <a:pt x="376418" y="201753"/>
                </a:lnTo>
                <a:cubicBezTo>
                  <a:pt x="374150" y="189207"/>
                  <a:pt x="362114" y="180888"/>
                  <a:pt x="349573" y="183169"/>
                </a:cubicBezTo>
                <a:cubicBezTo>
                  <a:pt x="336999" y="185449"/>
                  <a:pt x="328681" y="197469"/>
                  <a:pt x="330981" y="210016"/>
                </a:cubicBezTo>
                <a:cubicBezTo>
                  <a:pt x="331076" y="210564"/>
                  <a:pt x="331202" y="211105"/>
                  <a:pt x="331328" y="211644"/>
                </a:cubicBezTo>
                <a:cubicBezTo>
                  <a:pt x="332620" y="217648"/>
                  <a:pt x="336306" y="222873"/>
                  <a:pt x="341506" y="226134"/>
                </a:cubicBezTo>
                <a:close/>
                <a:moveTo>
                  <a:pt x="347146" y="202415"/>
                </a:moveTo>
                <a:cubicBezTo>
                  <a:pt x="348627" y="200128"/>
                  <a:pt x="351148" y="198739"/>
                  <a:pt x="353858" y="198729"/>
                </a:cubicBezTo>
                <a:cubicBezTo>
                  <a:pt x="358269" y="198707"/>
                  <a:pt x="361861" y="202257"/>
                  <a:pt x="361861" y="206658"/>
                </a:cubicBezTo>
                <a:cubicBezTo>
                  <a:pt x="361893" y="208201"/>
                  <a:pt x="361451" y="209716"/>
                  <a:pt x="360601" y="211014"/>
                </a:cubicBezTo>
                <a:cubicBezTo>
                  <a:pt x="358238" y="214731"/>
                  <a:pt x="353322" y="215837"/>
                  <a:pt x="349603" y="213480"/>
                </a:cubicBezTo>
                <a:cubicBezTo>
                  <a:pt x="347808" y="212337"/>
                  <a:pt x="346515" y="210519"/>
                  <a:pt x="346075" y="208431"/>
                </a:cubicBezTo>
                <a:cubicBezTo>
                  <a:pt x="345634" y="206355"/>
                  <a:pt x="346043" y="204182"/>
                  <a:pt x="347209" y="2024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Google Shape;2216;p101">
            <a:extLst>
              <a:ext uri="{FF2B5EF4-FFF2-40B4-BE49-F238E27FC236}">
                <a16:creationId xmlns:a16="http://schemas.microsoft.com/office/drawing/2014/main" id="{3098A27B-016E-92EF-4E34-826251C7F8C4}"/>
              </a:ext>
            </a:extLst>
          </p:cNvPr>
          <p:cNvSpPr/>
          <p:nvPr/>
        </p:nvSpPr>
        <p:spPr>
          <a:xfrm>
            <a:off x="4029141" y="4983575"/>
            <a:ext cx="365760" cy="365760"/>
          </a:xfrm>
          <a:custGeom>
            <a:avLst/>
            <a:gdLst/>
            <a:ahLst/>
            <a:cxnLst/>
            <a:rect l="l" t="t" r="r" b="b"/>
            <a:pathLst>
              <a:path w="576" h="576" extrusionOk="0">
                <a:moveTo>
                  <a:pt x="0" y="0"/>
                </a:moveTo>
                <a:cubicBezTo>
                  <a:pt x="0" y="576"/>
                  <a:pt x="0" y="576"/>
                  <a:pt x="0" y="576"/>
                </a:cubicBezTo>
                <a:cubicBezTo>
                  <a:pt x="576" y="576"/>
                  <a:pt x="576" y="576"/>
                  <a:pt x="576" y="576"/>
                </a:cubicBezTo>
                <a:cubicBezTo>
                  <a:pt x="576" y="0"/>
                  <a:pt x="576" y="0"/>
                  <a:pt x="576" y="0"/>
                </a:cubicBezTo>
                <a:lnTo>
                  <a:pt x="0" y="0"/>
                </a:lnTo>
                <a:close/>
                <a:moveTo>
                  <a:pt x="551" y="551"/>
                </a:moveTo>
                <a:cubicBezTo>
                  <a:pt x="25" y="551"/>
                  <a:pt x="25" y="551"/>
                  <a:pt x="25" y="551"/>
                </a:cubicBezTo>
                <a:cubicBezTo>
                  <a:pt x="25" y="24"/>
                  <a:pt x="25" y="24"/>
                  <a:pt x="25" y="24"/>
                </a:cubicBezTo>
                <a:cubicBezTo>
                  <a:pt x="551" y="24"/>
                  <a:pt x="551" y="24"/>
                  <a:pt x="551" y="24"/>
                </a:cubicBezTo>
                <a:lnTo>
                  <a:pt x="551" y="551"/>
                </a:lnTo>
                <a:close/>
                <a:moveTo>
                  <a:pt x="156" y="425"/>
                </a:moveTo>
                <a:cubicBezTo>
                  <a:pt x="201" y="425"/>
                  <a:pt x="238" y="391"/>
                  <a:pt x="244" y="348"/>
                </a:cubicBezTo>
                <a:cubicBezTo>
                  <a:pt x="288" y="348"/>
                  <a:pt x="288" y="348"/>
                  <a:pt x="288" y="348"/>
                </a:cubicBezTo>
                <a:cubicBezTo>
                  <a:pt x="356" y="257"/>
                  <a:pt x="356" y="257"/>
                  <a:pt x="356" y="257"/>
                </a:cubicBezTo>
                <a:cubicBezTo>
                  <a:pt x="362" y="266"/>
                  <a:pt x="362" y="266"/>
                  <a:pt x="362" y="266"/>
                </a:cubicBezTo>
                <a:cubicBezTo>
                  <a:pt x="342" y="283"/>
                  <a:pt x="329" y="308"/>
                  <a:pt x="329" y="336"/>
                </a:cubicBezTo>
                <a:cubicBezTo>
                  <a:pt x="329" y="385"/>
                  <a:pt x="369" y="425"/>
                  <a:pt x="418" y="425"/>
                </a:cubicBezTo>
                <a:cubicBezTo>
                  <a:pt x="467" y="425"/>
                  <a:pt x="507" y="385"/>
                  <a:pt x="507" y="336"/>
                </a:cubicBezTo>
                <a:cubicBezTo>
                  <a:pt x="507" y="287"/>
                  <a:pt x="467" y="247"/>
                  <a:pt x="418" y="247"/>
                </a:cubicBezTo>
                <a:cubicBezTo>
                  <a:pt x="406" y="247"/>
                  <a:pt x="394" y="249"/>
                  <a:pt x="383" y="254"/>
                </a:cubicBezTo>
                <a:cubicBezTo>
                  <a:pt x="370" y="231"/>
                  <a:pt x="370" y="231"/>
                  <a:pt x="370" y="231"/>
                </a:cubicBezTo>
                <a:cubicBezTo>
                  <a:pt x="370" y="166"/>
                  <a:pt x="370" y="166"/>
                  <a:pt x="370" y="166"/>
                </a:cubicBezTo>
                <a:cubicBezTo>
                  <a:pt x="320" y="166"/>
                  <a:pt x="320" y="166"/>
                  <a:pt x="320" y="166"/>
                </a:cubicBezTo>
                <a:cubicBezTo>
                  <a:pt x="320" y="190"/>
                  <a:pt x="320" y="190"/>
                  <a:pt x="320" y="190"/>
                </a:cubicBezTo>
                <a:cubicBezTo>
                  <a:pt x="345" y="190"/>
                  <a:pt x="345" y="190"/>
                  <a:pt x="345" y="190"/>
                </a:cubicBezTo>
                <a:cubicBezTo>
                  <a:pt x="345" y="222"/>
                  <a:pt x="345" y="222"/>
                  <a:pt x="345" y="222"/>
                </a:cubicBezTo>
                <a:cubicBezTo>
                  <a:pt x="200" y="222"/>
                  <a:pt x="200" y="222"/>
                  <a:pt x="200" y="222"/>
                </a:cubicBezTo>
                <a:cubicBezTo>
                  <a:pt x="200" y="217"/>
                  <a:pt x="200" y="217"/>
                  <a:pt x="200" y="217"/>
                </a:cubicBezTo>
                <a:cubicBezTo>
                  <a:pt x="223" y="217"/>
                  <a:pt x="223" y="217"/>
                  <a:pt x="223" y="217"/>
                </a:cubicBezTo>
                <a:cubicBezTo>
                  <a:pt x="223" y="192"/>
                  <a:pt x="223" y="192"/>
                  <a:pt x="223" y="192"/>
                </a:cubicBezTo>
                <a:cubicBezTo>
                  <a:pt x="164" y="192"/>
                  <a:pt x="164" y="192"/>
                  <a:pt x="164" y="192"/>
                </a:cubicBezTo>
                <a:cubicBezTo>
                  <a:pt x="164" y="217"/>
                  <a:pt x="164" y="217"/>
                  <a:pt x="164" y="217"/>
                </a:cubicBezTo>
                <a:cubicBezTo>
                  <a:pt x="175" y="217"/>
                  <a:pt x="175" y="217"/>
                  <a:pt x="175" y="217"/>
                </a:cubicBezTo>
                <a:cubicBezTo>
                  <a:pt x="175" y="233"/>
                  <a:pt x="175" y="233"/>
                  <a:pt x="175" y="233"/>
                </a:cubicBezTo>
                <a:cubicBezTo>
                  <a:pt x="170" y="248"/>
                  <a:pt x="170" y="248"/>
                  <a:pt x="170" y="248"/>
                </a:cubicBezTo>
                <a:cubicBezTo>
                  <a:pt x="166" y="247"/>
                  <a:pt x="161" y="247"/>
                  <a:pt x="156" y="247"/>
                </a:cubicBezTo>
                <a:cubicBezTo>
                  <a:pt x="107" y="247"/>
                  <a:pt x="67" y="287"/>
                  <a:pt x="67" y="336"/>
                </a:cubicBezTo>
                <a:cubicBezTo>
                  <a:pt x="67" y="385"/>
                  <a:pt x="107" y="425"/>
                  <a:pt x="156" y="425"/>
                </a:cubicBezTo>
                <a:close/>
                <a:moveTo>
                  <a:pt x="418" y="271"/>
                </a:moveTo>
                <a:cubicBezTo>
                  <a:pt x="453" y="271"/>
                  <a:pt x="482" y="300"/>
                  <a:pt x="482" y="336"/>
                </a:cubicBezTo>
                <a:cubicBezTo>
                  <a:pt x="482" y="371"/>
                  <a:pt x="453" y="400"/>
                  <a:pt x="418" y="400"/>
                </a:cubicBezTo>
                <a:cubicBezTo>
                  <a:pt x="382" y="400"/>
                  <a:pt x="354" y="371"/>
                  <a:pt x="354" y="336"/>
                </a:cubicBezTo>
                <a:cubicBezTo>
                  <a:pt x="354" y="317"/>
                  <a:pt x="362" y="300"/>
                  <a:pt x="375" y="288"/>
                </a:cubicBezTo>
                <a:cubicBezTo>
                  <a:pt x="407" y="342"/>
                  <a:pt x="407" y="342"/>
                  <a:pt x="407" y="342"/>
                </a:cubicBezTo>
                <a:cubicBezTo>
                  <a:pt x="428" y="329"/>
                  <a:pt x="428" y="329"/>
                  <a:pt x="428" y="329"/>
                </a:cubicBezTo>
                <a:cubicBezTo>
                  <a:pt x="396" y="275"/>
                  <a:pt x="396" y="275"/>
                  <a:pt x="396" y="275"/>
                </a:cubicBezTo>
                <a:cubicBezTo>
                  <a:pt x="403" y="273"/>
                  <a:pt x="410" y="271"/>
                  <a:pt x="418" y="271"/>
                </a:cubicBezTo>
                <a:close/>
                <a:moveTo>
                  <a:pt x="186" y="279"/>
                </a:moveTo>
                <a:cubicBezTo>
                  <a:pt x="203" y="288"/>
                  <a:pt x="215" y="304"/>
                  <a:pt x="219" y="323"/>
                </a:cubicBezTo>
                <a:cubicBezTo>
                  <a:pt x="173" y="323"/>
                  <a:pt x="173" y="323"/>
                  <a:pt x="173" y="323"/>
                </a:cubicBezTo>
                <a:lnTo>
                  <a:pt x="186" y="279"/>
                </a:lnTo>
                <a:close/>
                <a:moveTo>
                  <a:pt x="197" y="247"/>
                </a:moveTo>
                <a:cubicBezTo>
                  <a:pt x="333" y="247"/>
                  <a:pt x="333" y="247"/>
                  <a:pt x="333" y="247"/>
                </a:cubicBezTo>
                <a:cubicBezTo>
                  <a:pt x="276" y="323"/>
                  <a:pt x="276" y="323"/>
                  <a:pt x="276" y="323"/>
                </a:cubicBezTo>
                <a:cubicBezTo>
                  <a:pt x="244" y="323"/>
                  <a:pt x="244" y="323"/>
                  <a:pt x="244" y="323"/>
                </a:cubicBezTo>
                <a:cubicBezTo>
                  <a:pt x="240" y="293"/>
                  <a:pt x="220" y="268"/>
                  <a:pt x="194" y="255"/>
                </a:cubicBezTo>
                <a:lnTo>
                  <a:pt x="197" y="247"/>
                </a:lnTo>
                <a:close/>
                <a:moveTo>
                  <a:pt x="156" y="271"/>
                </a:moveTo>
                <a:cubicBezTo>
                  <a:pt x="158" y="271"/>
                  <a:pt x="161" y="271"/>
                  <a:pt x="163" y="272"/>
                </a:cubicBezTo>
                <a:cubicBezTo>
                  <a:pt x="139" y="348"/>
                  <a:pt x="139" y="348"/>
                  <a:pt x="139" y="348"/>
                </a:cubicBezTo>
                <a:cubicBezTo>
                  <a:pt x="219" y="348"/>
                  <a:pt x="219" y="348"/>
                  <a:pt x="219" y="348"/>
                </a:cubicBezTo>
                <a:cubicBezTo>
                  <a:pt x="213" y="378"/>
                  <a:pt x="187" y="400"/>
                  <a:pt x="156" y="400"/>
                </a:cubicBezTo>
                <a:cubicBezTo>
                  <a:pt x="120" y="400"/>
                  <a:pt x="92" y="371"/>
                  <a:pt x="92" y="336"/>
                </a:cubicBezTo>
                <a:cubicBezTo>
                  <a:pt x="92" y="300"/>
                  <a:pt x="120" y="271"/>
                  <a:pt x="156" y="271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" name="Picture 29" descr="A red car in a parking lot&#10;&#10;Description automatically generated">
            <a:extLst>
              <a:ext uri="{FF2B5EF4-FFF2-40B4-BE49-F238E27FC236}">
                <a16:creationId xmlns:a16="http://schemas.microsoft.com/office/drawing/2014/main" id="{A7E049F3-F4D4-E6FC-B727-C381F321DA1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67682" y="0"/>
            <a:ext cx="4324317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D67932-0D05-725E-A148-817B56B38C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7027A-F973-4DE3-ADAD-B9A15715AF64}" type="slidenum">
              <a:rPr lang="en-US" sz="1000" smtClean="0">
                <a:solidFill>
                  <a:schemeClr val="bg1"/>
                </a:solidFill>
              </a:rPr>
              <a:pPr/>
              <a:t>9</a:t>
            </a:fld>
            <a:endParaRPr lang="en-US" sz="1000">
              <a:solidFill>
                <a:schemeClr val="bg1"/>
              </a:solidFill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0258291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LASTSLIDEVIEWED" val="2134805018,1,Slide213480476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c_IhsJ45lZ0IQW6OlLH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2.xml><?xml version="1.0" encoding="utf-8"?>
<a:theme xmlns:a="http://schemas.openxmlformats.org/drawingml/2006/main" name="2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DcR_SlideID>d96ce7b4-f839-43c4-a40b-7e6955175ec0</DcR_SlideID>
</file>

<file path=customXml/item10.xml><?xml version="1.0" encoding="utf-8"?>
<DcR_SlideID>630976cf-0cd3-4441-9f6a-7183b15b7e61</DcR_SlideID>
</file>

<file path=customXml/item11.xml><?xml version="1.0" encoding="utf-8"?>
<DcR_SlideID>7276d733-6c5d-4c04-acb9-c26ed455772f</DcR_SlideID>
</file>

<file path=customXml/item12.xml><?xml version="1.0" encoding="utf-8"?>
<DcR_SlideID>9d91614f-9317-4450-963c-62611164cfde</DcR_SlideID>
</file>

<file path=customXml/item13.xml><?xml version="1.0" encoding="utf-8"?>
<DcR_SlideID>b0a22841-0c39-456c-a7da-e3742a7dac8c</DcR_SlideID>
</file>

<file path=customXml/item14.xml><?xml version="1.0" encoding="utf-8"?>
<DcR_SlideID>4882a1d7-b55b-4c91-8e87-2c5132e5aa96</DcR_SlideID>
</file>

<file path=customXml/item15.xml><?xml version="1.0" encoding="utf-8"?>
<DcR_SlideID>6be29fac-1d06-46d4-b187-dee38d1df9b3</DcR_SlideID>
</file>

<file path=customXml/item16.xml><?xml version="1.0" encoding="utf-8"?>
<DcR_SlideID>41c87dfc-1232-40ba-a5c7-5def424f9acc</DcR_SlideID>
</file>

<file path=customXml/item17.xml><?xml version="1.0" encoding="utf-8"?>
<DcR_SlideID>5d8bc5df-3204-44da-b7fe-f28c9ceaacb7</DcR_SlideID>
</file>

<file path=customXml/item18.xml><?xml version="1.0" encoding="utf-8"?>
<DcR_SlideID>29132c68-e122-4018-9db8-c687f3bc1d50</DcR_SlideID>
</file>

<file path=customXml/item19.xml><?xml version="1.0" encoding="utf-8"?>
<DcR_SlideID>57eff89d-4165-42f7-ba40-84ca733e4d30</DcR_SlideID>
</file>

<file path=customXml/item2.xml><?xml version="1.0" encoding="utf-8"?>
<DcR_SlideID>35279e45-d8f0-41d8-9d70-87dab026bf9a</DcR_SlideID>
</file>

<file path=customXml/item20.xml><?xml version="1.0" encoding="utf-8"?>
<DcR_SlideID>4d5fcecc-443b-4ee4-82ba-8254271c983c</DcR_SlideID>
</file>

<file path=customXml/item21.xml><?xml version="1.0" encoding="utf-8"?>
<DcR_SlideID>529bb318-730b-4cd7-81ae-eae71927d771</DcR_SlideID>
</file>

<file path=customXml/item22.xml><?xml version="1.0" encoding="utf-8"?>
<DcR_SlideID>e280d4ac-141a-4aa5-96b3-5f28c06f5e03</DcR_SlideID>
</file>

<file path=customXml/item23.xml><?xml version="1.0" encoding="utf-8"?>
<DcR_SlideID>660f47b7-d9fc-42a8-ab64-f400333af239</DcR_SlideID>
</file>

<file path=customXml/item24.xml><?xml version="1.0" encoding="utf-8"?>
<DcR_SlideID>93dbde88-904e-4ef0-b0ee-95649db3daaf</DcR_SlideID>
</file>

<file path=customXml/item25.xml><?xml version="1.0" encoding="utf-8"?>
<DcR_SlideID>7a1f125d-5dab-4471-b228-963a6797730f</DcR_SlideID>
</file>

<file path=customXml/item3.xml><?xml version="1.0" encoding="utf-8"?>
<DcR_SlideID>8f1e1ed8-1de8-41e6-a6e8-9e66dcd10895</DcR_SlideID>
</file>

<file path=customXml/item4.xml><?xml version="1.0" encoding="utf-8"?>
<DcR_SlideID>eca055b2-b69a-4ca6-94cf-d69d0239a878</DcR_SlideID>
</file>

<file path=customXml/item5.xml><?xml version="1.0" encoding="utf-8"?>
<DcR_SlideID>d0c54f35-2af8-41d2-89ca-e5bc51c08b37</DcR_SlideID>
</file>

<file path=customXml/item6.xml><?xml version="1.0" encoding="utf-8"?>
<DcR_SlideID>eac28caf-03a6-4602-b151-25d956736d07</DcR_SlideID>
</file>

<file path=customXml/item7.xml><?xml version="1.0" encoding="utf-8"?>
<DcR_SlideID>921117bf-c4aa-4ad7-a04f-2a0922c47345</DcR_SlideID>
</file>

<file path=customXml/item8.xml><?xml version="1.0" encoding="utf-8"?>
<DcR_SlideID>47fbef52-80fe-4bd2-be65-2dea88f49681</DcR_SlideID>
</file>

<file path=customXml/item9.xml><?xml version="1.0" encoding="utf-8"?>
<DcR_SlideID>2c30e1ba-5fd2-446a-abb1-1047d2ff5d5d</DcR_SlideID>
</file>

<file path=customXml/itemProps1.xml><?xml version="1.0" encoding="utf-8"?>
<ds:datastoreItem xmlns:ds="http://schemas.openxmlformats.org/officeDocument/2006/customXml" ds:itemID="{BF327321-5D44-401A-8510-FEB492F4A126}">
  <ds:schemaRefs/>
</ds:datastoreItem>
</file>

<file path=customXml/itemProps10.xml><?xml version="1.0" encoding="utf-8"?>
<ds:datastoreItem xmlns:ds="http://schemas.openxmlformats.org/officeDocument/2006/customXml" ds:itemID="{95340C91-CAFE-4D74-B795-D7DF0576C0C5}">
  <ds:schemaRefs/>
</ds:datastoreItem>
</file>

<file path=customXml/itemProps11.xml><?xml version="1.0" encoding="utf-8"?>
<ds:datastoreItem xmlns:ds="http://schemas.openxmlformats.org/officeDocument/2006/customXml" ds:itemID="{11D0CEAA-F31D-410F-B84F-0EC533423690}">
  <ds:schemaRefs/>
</ds:datastoreItem>
</file>

<file path=customXml/itemProps12.xml><?xml version="1.0" encoding="utf-8"?>
<ds:datastoreItem xmlns:ds="http://schemas.openxmlformats.org/officeDocument/2006/customXml" ds:itemID="{C9696FF2-8529-4262-9969-05C4EA89E798}">
  <ds:schemaRefs/>
</ds:datastoreItem>
</file>

<file path=customXml/itemProps13.xml><?xml version="1.0" encoding="utf-8"?>
<ds:datastoreItem xmlns:ds="http://schemas.openxmlformats.org/officeDocument/2006/customXml" ds:itemID="{9F6027DF-EC73-4472-ACF6-2C18FA39E2B9}">
  <ds:schemaRefs/>
</ds:datastoreItem>
</file>

<file path=customXml/itemProps14.xml><?xml version="1.0" encoding="utf-8"?>
<ds:datastoreItem xmlns:ds="http://schemas.openxmlformats.org/officeDocument/2006/customXml" ds:itemID="{1A6C873E-AA54-4289-8CA0-479542C6ABAE}">
  <ds:schemaRefs/>
</ds:datastoreItem>
</file>

<file path=customXml/itemProps15.xml><?xml version="1.0" encoding="utf-8"?>
<ds:datastoreItem xmlns:ds="http://schemas.openxmlformats.org/officeDocument/2006/customXml" ds:itemID="{AE7E90F7-F1EA-43A2-A909-A536E2ACA258}">
  <ds:schemaRefs/>
</ds:datastoreItem>
</file>

<file path=customXml/itemProps16.xml><?xml version="1.0" encoding="utf-8"?>
<ds:datastoreItem xmlns:ds="http://schemas.openxmlformats.org/officeDocument/2006/customXml" ds:itemID="{170FD946-3CEB-4ECD-9275-CD1567657355}">
  <ds:schemaRefs/>
</ds:datastoreItem>
</file>

<file path=customXml/itemProps17.xml><?xml version="1.0" encoding="utf-8"?>
<ds:datastoreItem xmlns:ds="http://schemas.openxmlformats.org/officeDocument/2006/customXml" ds:itemID="{4E9548C0-CAC1-4A0A-8669-0B588AC5515E}">
  <ds:schemaRefs/>
</ds:datastoreItem>
</file>

<file path=customXml/itemProps18.xml><?xml version="1.0" encoding="utf-8"?>
<ds:datastoreItem xmlns:ds="http://schemas.openxmlformats.org/officeDocument/2006/customXml" ds:itemID="{A525FED5-B56D-410F-96A9-570DF8554446}">
  <ds:schemaRefs/>
</ds:datastoreItem>
</file>

<file path=customXml/itemProps19.xml><?xml version="1.0" encoding="utf-8"?>
<ds:datastoreItem xmlns:ds="http://schemas.openxmlformats.org/officeDocument/2006/customXml" ds:itemID="{ACE24899-E9BA-4216-838E-87E17AF3A0FD}">
  <ds:schemaRefs/>
</ds:datastoreItem>
</file>

<file path=customXml/itemProps2.xml><?xml version="1.0" encoding="utf-8"?>
<ds:datastoreItem xmlns:ds="http://schemas.openxmlformats.org/officeDocument/2006/customXml" ds:itemID="{C4841C5E-05F8-4F12-A472-7A1AF6F81122}">
  <ds:schemaRefs/>
</ds:datastoreItem>
</file>

<file path=customXml/itemProps20.xml><?xml version="1.0" encoding="utf-8"?>
<ds:datastoreItem xmlns:ds="http://schemas.openxmlformats.org/officeDocument/2006/customXml" ds:itemID="{EF7F694E-A87B-415C-A321-04FACFEC69B9}">
  <ds:schemaRefs/>
</ds:datastoreItem>
</file>

<file path=customXml/itemProps21.xml><?xml version="1.0" encoding="utf-8"?>
<ds:datastoreItem xmlns:ds="http://schemas.openxmlformats.org/officeDocument/2006/customXml" ds:itemID="{5B4D84B2-AFDD-4C74-A479-E17BD1D65AF9}">
  <ds:schemaRefs/>
</ds:datastoreItem>
</file>

<file path=customXml/itemProps22.xml><?xml version="1.0" encoding="utf-8"?>
<ds:datastoreItem xmlns:ds="http://schemas.openxmlformats.org/officeDocument/2006/customXml" ds:itemID="{E7CD8B58-A67C-4CF8-BE59-2D8E65D83129}">
  <ds:schemaRefs/>
</ds:datastoreItem>
</file>

<file path=customXml/itemProps23.xml><?xml version="1.0" encoding="utf-8"?>
<ds:datastoreItem xmlns:ds="http://schemas.openxmlformats.org/officeDocument/2006/customXml" ds:itemID="{C6294069-C1C1-469E-BF89-77ED7AB90BD1}">
  <ds:schemaRefs/>
</ds:datastoreItem>
</file>

<file path=customXml/itemProps24.xml><?xml version="1.0" encoding="utf-8"?>
<ds:datastoreItem xmlns:ds="http://schemas.openxmlformats.org/officeDocument/2006/customXml" ds:itemID="{4F57C0DC-2C29-40C5-92E9-D47425F9B258}">
  <ds:schemaRefs/>
</ds:datastoreItem>
</file>

<file path=customXml/itemProps25.xml><?xml version="1.0" encoding="utf-8"?>
<ds:datastoreItem xmlns:ds="http://schemas.openxmlformats.org/officeDocument/2006/customXml" ds:itemID="{94584F55-D2DC-4774-99AD-610371EB2227}">
  <ds:schemaRefs/>
</ds:datastoreItem>
</file>

<file path=customXml/itemProps3.xml><?xml version="1.0" encoding="utf-8"?>
<ds:datastoreItem xmlns:ds="http://schemas.openxmlformats.org/officeDocument/2006/customXml" ds:itemID="{3E765EE4-5441-4B1D-8E43-1A2E8EF70DC5}">
  <ds:schemaRefs/>
</ds:datastoreItem>
</file>

<file path=customXml/itemProps4.xml><?xml version="1.0" encoding="utf-8"?>
<ds:datastoreItem xmlns:ds="http://schemas.openxmlformats.org/officeDocument/2006/customXml" ds:itemID="{39BBB68C-F5A2-47B3-8BBA-0360CA7EFC7B}">
  <ds:schemaRefs/>
</ds:datastoreItem>
</file>

<file path=customXml/itemProps5.xml><?xml version="1.0" encoding="utf-8"?>
<ds:datastoreItem xmlns:ds="http://schemas.openxmlformats.org/officeDocument/2006/customXml" ds:itemID="{512E6221-D4BC-4A7E-AEDF-FE983C28029F}">
  <ds:schemaRefs/>
</ds:datastoreItem>
</file>

<file path=customXml/itemProps6.xml><?xml version="1.0" encoding="utf-8"?>
<ds:datastoreItem xmlns:ds="http://schemas.openxmlformats.org/officeDocument/2006/customXml" ds:itemID="{D2BD8D12-8928-48B3-8E05-3D039A9DE560}">
  <ds:schemaRefs/>
</ds:datastoreItem>
</file>

<file path=customXml/itemProps7.xml><?xml version="1.0" encoding="utf-8"?>
<ds:datastoreItem xmlns:ds="http://schemas.openxmlformats.org/officeDocument/2006/customXml" ds:itemID="{40165528-D659-4A3A-9F5A-293204BB0DFB}">
  <ds:schemaRefs/>
</ds:datastoreItem>
</file>

<file path=customXml/itemProps8.xml><?xml version="1.0" encoding="utf-8"?>
<ds:datastoreItem xmlns:ds="http://schemas.openxmlformats.org/officeDocument/2006/customXml" ds:itemID="{0588F188-DE20-4B09-934C-7EE40806B940}">
  <ds:schemaRefs/>
</ds:datastoreItem>
</file>

<file path=customXml/itemProps9.xml><?xml version="1.0" encoding="utf-8"?>
<ds:datastoreItem xmlns:ds="http://schemas.openxmlformats.org/officeDocument/2006/customXml" ds:itemID="{4A5620DA-2AA9-411C-A5D2-B7449B56EC1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 16x9 PowerPoint</Template>
  <TotalTime>5765</TotalTime>
  <Words>698</Words>
  <Application>Microsoft Office PowerPoint</Application>
  <PresentationFormat>Widescreen</PresentationFormat>
  <Paragraphs>150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Aptos</vt:lpstr>
      <vt:lpstr>Arial</vt:lpstr>
      <vt:lpstr>Cambria</vt:lpstr>
      <vt:lpstr>Georgia</vt:lpstr>
      <vt:lpstr>PwC</vt:lpstr>
      <vt:lpstr>2_Pw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Devika Narang</dc:creator>
  <cp:keywords/>
  <dc:description/>
  <cp:lastModifiedBy>KAUSHIK Deb (IN)</cp:lastModifiedBy>
  <cp:revision>28</cp:revision>
  <dcterms:created xsi:type="dcterms:W3CDTF">2023-12-06T16:43:06Z</dcterms:created>
  <dcterms:modified xsi:type="dcterms:W3CDTF">2024-01-05T08:35:5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